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54" r:id="rId1"/>
  </p:sldMasterIdLst>
  <p:notesMasterIdLst>
    <p:notesMasterId r:id="rId22"/>
  </p:notesMasterIdLst>
  <p:handoutMasterIdLst>
    <p:handoutMasterId r:id="rId23"/>
  </p:handoutMasterIdLst>
  <p:sldIdLst>
    <p:sldId id="562" r:id="rId2"/>
    <p:sldId id="1471" r:id="rId3"/>
    <p:sldId id="1440" r:id="rId4"/>
    <p:sldId id="1442" r:id="rId5"/>
    <p:sldId id="1444" r:id="rId6"/>
    <p:sldId id="1394" r:id="rId7"/>
    <p:sldId id="1492" r:id="rId8"/>
    <p:sldId id="1474" r:id="rId9"/>
    <p:sldId id="1475" r:id="rId10"/>
    <p:sldId id="1496" r:id="rId11"/>
    <p:sldId id="1468" r:id="rId12"/>
    <p:sldId id="1481" r:id="rId13"/>
    <p:sldId id="1482" r:id="rId14"/>
    <p:sldId id="1483" r:id="rId15"/>
    <p:sldId id="1491" r:id="rId16"/>
    <p:sldId id="1484" r:id="rId17"/>
    <p:sldId id="1490" r:id="rId18"/>
    <p:sldId id="1487" r:id="rId19"/>
    <p:sldId id="1463" r:id="rId20"/>
    <p:sldId id="1436" r:id="rId21"/>
  </p:sldIdLst>
  <p:sldSz cx="9906000" cy="6858000" type="A4"/>
  <p:notesSz cx="6805613" cy="9939338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B3CCEB"/>
    <a:srgbClr val="FFCC66"/>
    <a:srgbClr val="E3600F"/>
    <a:srgbClr val="0F407B"/>
    <a:srgbClr val="0B2F5B"/>
    <a:srgbClr val="D0D41E"/>
    <a:srgbClr val="FFFF66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Stile medio 1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25E5076-3810-47DD-B79F-674D7AD40C01}" styleName="Stile scuro 1 - Color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4C1A8A3-306A-4EB7-A6B1-4F7E0EB9C5D6}" styleName="Stile medio 3 - Colore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23969" autoAdjust="0"/>
    <p:restoredTop sz="93620" autoAdjust="0"/>
  </p:normalViewPr>
  <p:slideViewPr>
    <p:cSldViewPr>
      <p:cViewPr>
        <p:scale>
          <a:sx n="87" d="100"/>
          <a:sy n="87" d="100"/>
        </p:scale>
        <p:origin x="-510" y="138"/>
      </p:cViewPr>
      <p:guideLst>
        <p:guide orient="horz" pos="2432"/>
        <p:guide pos="3168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40" d="100"/>
        <a:sy n="140" d="100"/>
      </p:scale>
      <p:origin x="0" y="0"/>
    </p:cViewPr>
  </p:sorterViewPr>
  <p:notesViewPr>
    <p:cSldViewPr>
      <p:cViewPr>
        <p:scale>
          <a:sx n="100" d="100"/>
          <a:sy n="100" d="100"/>
        </p:scale>
        <p:origin x="-2052" y="1362"/>
      </p:cViewPr>
      <p:guideLst>
        <p:guide orient="horz" pos="3131"/>
        <p:guide pos="214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png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png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png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63918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6988" y="11113"/>
            <a:ext cx="2914650" cy="4556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9108" tIns="0" rIns="19108" bIns="0" numCol="1" anchor="t" anchorCtr="0" compatLnSpc="1">
            <a:prstTxWarp prst="textNoShape">
              <a:avLst/>
            </a:prstTxWarp>
          </a:bodyPr>
          <a:lstStyle>
            <a:lvl1pPr defTabSz="770194" eaLnBrk="0" hangingPunct="0">
              <a:defRPr sz="1000" i="1">
                <a:latin typeface="Times New Roman" pitchFamily="18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63975" y="11113"/>
            <a:ext cx="2914650" cy="4556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9108" tIns="0" rIns="19108" bIns="0" numCol="1" anchor="t" anchorCtr="0" compatLnSpc="1">
            <a:prstTxWarp prst="textNoShape">
              <a:avLst/>
            </a:prstTxWarp>
          </a:bodyPr>
          <a:lstStyle>
            <a:lvl1pPr algn="r" defTabSz="770194" eaLnBrk="0" hangingPunct="0">
              <a:defRPr sz="1000" i="1">
                <a:latin typeface="Times New Roman" pitchFamily="18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68350" y="782638"/>
            <a:ext cx="5268913" cy="364807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71538" y="4743450"/>
            <a:ext cx="5062537" cy="44211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358" tIns="47771" rIns="92358" bIns="4777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 smtClean="0"/>
              <a:t>Fare clic per modificare gli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6988" y="9472613"/>
            <a:ext cx="2914650" cy="4556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9108" tIns="0" rIns="19108" bIns="0" numCol="1" anchor="b" anchorCtr="0" compatLnSpc="1">
            <a:prstTxWarp prst="textNoShape">
              <a:avLst/>
            </a:prstTxWarp>
          </a:bodyPr>
          <a:lstStyle>
            <a:lvl1pPr defTabSz="770194" eaLnBrk="0" hangingPunct="0">
              <a:defRPr sz="1000" i="1">
                <a:latin typeface="Times New Roman" pitchFamily="18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63975" y="9472613"/>
            <a:ext cx="2914650" cy="4556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9108" tIns="0" rIns="19108" bIns="0" numCol="1" anchor="b" anchorCtr="0" compatLnSpc="1">
            <a:prstTxWarp prst="textNoShape">
              <a:avLst/>
            </a:prstTxWarp>
          </a:bodyPr>
          <a:lstStyle>
            <a:lvl1pPr algn="r" defTabSz="770194" eaLnBrk="0" hangingPunct="0">
              <a:defRPr sz="1000" i="1">
                <a:latin typeface="Times New Roman" pitchFamily="18" charset="0"/>
              </a:defRPr>
            </a:lvl1pPr>
          </a:lstStyle>
          <a:p>
            <a:pPr>
              <a:defRPr/>
            </a:pPr>
            <a:fld id="{13559424-728C-4B18-B3A2-3F9A86EBC21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5057977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76835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8788" algn="l" defTabSz="76835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7575" algn="l" defTabSz="76835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7950" algn="l" defTabSz="76835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35150" algn="l" defTabSz="76835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fld id="{D5AECAD3-C1F5-4087-B942-97CCAF247F7D}" type="slidenum">
              <a:rPr lang="it-IT" altLang="it-IT" smtClean="0">
                <a:latin typeface="Times New Roman" pitchFamily="18" charset="0"/>
              </a:rPr>
              <a:pPr defTabSz="914400"/>
              <a:t>1</a:t>
            </a:fld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676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6ADB4774-3318-404F-B682-BD4BD9E56C78}" type="slidenum">
              <a:rPr lang="it-IT" altLang="it-IT" smtClean="0">
                <a:latin typeface="Times New Roman" pitchFamily="18" charset="0"/>
              </a:rPr>
              <a:pPr/>
              <a:t>11</a:t>
            </a:fld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2772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888" y="3455988"/>
            <a:ext cx="5338762" cy="55657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 sz="90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676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7E30D4ED-871E-4D65-AAD6-B6A234D106E4}" type="slidenum">
              <a:rPr lang="it-IT" altLang="it-IT" smtClean="0">
                <a:latin typeface="Times New Roman" pitchFamily="18" charset="0"/>
              </a:rPr>
              <a:pPr/>
              <a:t>12</a:t>
            </a:fld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3796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888" y="3455988"/>
            <a:ext cx="5338762" cy="55657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 sz="90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676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F742DFCD-B57E-470D-9410-ECE44AB87A27}" type="slidenum">
              <a:rPr lang="it-IT" altLang="it-IT" smtClean="0">
                <a:latin typeface="Times New Roman" pitchFamily="18" charset="0"/>
              </a:rPr>
              <a:pPr/>
              <a:t>13</a:t>
            </a:fld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4820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888" y="3455988"/>
            <a:ext cx="5338762" cy="55657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 sz="90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676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0BCB5AE0-7FFE-4737-A8EC-1093EC213A6E}" type="slidenum">
              <a:rPr lang="it-IT" altLang="it-IT" smtClean="0">
                <a:latin typeface="Times New Roman" pitchFamily="18" charset="0"/>
              </a:rPr>
              <a:pPr/>
              <a:t>14</a:t>
            </a:fld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584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888" y="3455988"/>
            <a:ext cx="5338762" cy="55657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 sz="90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676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D0FD3066-8F20-4AED-B051-B441FF84448B}" type="slidenum">
              <a:rPr lang="it-IT" altLang="it-IT" smtClean="0">
                <a:latin typeface="Times New Roman" pitchFamily="18" charset="0"/>
              </a:rPr>
              <a:pPr/>
              <a:t>15</a:t>
            </a:fld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6868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888" y="3455988"/>
            <a:ext cx="5338762" cy="55657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 sz="90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676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FB278FD8-0A0F-4D9B-9F26-65FE4EB1F6F3}" type="slidenum">
              <a:rPr lang="it-IT" altLang="it-IT" smtClean="0">
                <a:latin typeface="Times New Roman" pitchFamily="18" charset="0"/>
              </a:rPr>
              <a:pPr/>
              <a:t>16</a:t>
            </a:fld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378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7892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888" y="3455988"/>
            <a:ext cx="5338762" cy="55657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 sz="90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676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08A98C67-3EA2-4562-B3B3-444760E4E88A}" type="slidenum">
              <a:rPr lang="it-IT" altLang="it-IT" smtClean="0">
                <a:latin typeface="Times New Roman" pitchFamily="18" charset="0"/>
              </a:rPr>
              <a:pPr/>
              <a:t>18</a:t>
            </a:fld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389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8916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888" y="3455988"/>
            <a:ext cx="5338762" cy="55657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 sz="90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676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E712E910-C1C0-49C8-9133-3B1805EAF7FA}" type="slidenum">
              <a:rPr lang="it-IT" altLang="it-IT" smtClean="0">
                <a:latin typeface="Times New Roman" pitchFamily="18" charset="0"/>
              </a:rPr>
              <a:pPr/>
              <a:t>19</a:t>
            </a:fld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399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9940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888" y="3455988"/>
            <a:ext cx="5338762" cy="55657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 sz="900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676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DE067E81-4222-425F-A2A3-C62FAF61C8B3}" type="slidenum">
              <a:rPr lang="it-IT" altLang="it-IT" smtClean="0">
                <a:latin typeface="Times New Roman" pitchFamily="18" charset="0"/>
              </a:rPr>
              <a:pPr/>
              <a:t>20</a:t>
            </a:fld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4096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888" y="3455988"/>
            <a:ext cx="5338762" cy="55657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 sz="90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676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9D585A2B-2488-4D28-945A-359033821117}" type="slidenum">
              <a:rPr lang="it-IT" altLang="it-IT" smtClean="0">
                <a:latin typeface="Times New Roman" pitchFamily="18" charset="0"/>
              </a:rPr>
              <a:pPr/>
              <a:t>2</a:t>
            </a:fld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24580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888" y="3455988"/>
            <a:ext cx="5338762" cy="55657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 sz="90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676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834824B4-AEA6-4E02-874D-1C14C98B5181}" type="slidenum">
              <a:rPr lang="it-IT" altLang="it-IT" smtClean="0">
                <a:latin typeface="Times New Roman" pitchFamily="18" charset="0"/>
              </a:rPr>
              <a:pPr/>
              <a:t>4</a:t>
            </a:fld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25604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888" y="3455988"/>
            <a:ext cx="5338762" cy="55657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 sz="90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676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FB21F96B-74D4-4234-A6E0-A2ACF7C0825D}" type="slidenum">
              <a:rPr lang="it-IT" altLang="it-IT" smtClean="0">
                <a:latin typeface="Times New Roman" pitchFamily="18" charset="0"/>
              </a:rPr>
              <a:pPr/>
              <a:t>5</a:t>
            </a:fld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266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26628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888" y="3455988"/>
            <a:ext cx="5338762" cy="55657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 sz="90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676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DF87D521-7EB8-40D1-A1AD-96D38331AAD1}" type="slidenum">
              <a:rPr lang="it-IT" altLang="it-IT" smtClean="0">
                <a:latin typeface="Times New Roman" pitchFamily="18" charset="0"/>
              </a:rPr>
              <a:pPr/>
              <a:t>6</a:t>
            </a:fld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27652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888" y="3455988"/>
            <a:ext cx="5338762" cy="55657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 sz="90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676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BCB4D2C9-A381-4A1E-831D-9B9A9D004F8D}" type="slidenum">
              <a:rPr lang="it-IT" altLang="it-IT" smtClean="0">
                <a:latin typeface="Times New Roman" pitchFamily="18" charset="0"/>
              </a:rPr>
              <a:pPr/>
              <a:t>7</a:t>
            </a:fld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28676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888" y="3455988"/>
            <a:ext cx="5338762" cy="55657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 sz="90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676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F30EA72B-DA1B-47D2-AAD9-926E5EE2ED3D}" type="slidenum">
              <a:rPr lang="it-IT" altLang="it-IT" smtClean="0">
                <a:latin typeface="Times New Roman" pitchFamily="18" charset="0"/>
              </a:rPr>
              <a:pPr/>
              <a:t>8</a:t>
            </a:fld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2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6125"/>
            <a:ext cx="5383213" cy="3727450"/>
          </a:xfrm>
          <a:ln/>
        </p:spPr>
      </p:sp>
      <p:sp>
        <p:nvSpPr>
          <p:cNvPr id="297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038" y="4724400"/>
            <a:ext cx="5445125" cy="44688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 eaLnBrk="1" hangingPunct="1"/>
            <a:endParaRPr lang="it-IT" altLang="it-IT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676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078B315F-4D30-4E5C-91DC-22841304F391}" type="slidenum">
              <a:rPr lang="it-IT" altLang="it-IT" smtClean="0">
                <a:latin typeface="Times New Roman" pitchFamily="18" charset="0"/>
              </a:rPr>
              <a:pPr/>
              <a:t>9</a:t>
            </a:fld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6125"/>
            <a:ext cx="5383213" cy="3727450"/>
          </a:xfrm>
          <a:ln/>
        </p:spPr>
      </p:sp>
      <p:sp>
        <p:nvSpPr>
          <p:cNvPr id="307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038" y="4724400"/>
            <a:ext cx="5445125" cy="44688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 eaLnBrk="1" hangingPunct="1"/>
            <a:endParaRPr lang="it-IT" altLang="it-IT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76676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676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BC699397-9039-474B-AA18-786D4E24C154}" type="slidenum">
              <a:rPr lang="it-IT" altLang="it-IT" smtClean="0">
                <a:latin typeface="Times New Roman" pitchFamily="18" charset="0"/>
              </a:rPr>
              <a:pPr/>
              <a:t>10</a:t>
            </a:fld>
            <a:endParaRPr lang="it-IT" altLang="it-IT" smtClean="0">
              <a:latin typeface="Times New Roman" pitchFamily="18" charset="0"/>
            </a:endParaRPr>
          </a:p>
        </p:txBody>
      </p:sp>
      <p:sp>
        <p:nvSpPr>
          <p:cNvPr id="317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7325" y="573088"/>
            <a:ext cx="3843338" cy="2662237"/>
          </a:xfrm>
          <a:ln/>
        </p:spPr>
      </p:sp>
      <p:sp>
        <p:nvSpPr>
          <p:cNvPr id="31748" name="Segnaposto note 5"/>
          <p:cNvSpPr>
            <a:spLocks noGrp="1"/>
          </p:cNvSpPr>
          <p:nvPr>
            <p:ph type="body" sz="quarter" idx="10"/>
          </p:nvPr>
        </p:nvSpPr>
        <p:spPr>
          <a:xfrm>
            <a:off x="877888" y="3455988"/>
            <a:ext cx="5338762" cy="55657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 sz="90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C434DE-8686-488E-AA24-3A01E575D2F0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960594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4D435B-DA66-4A81-9A33-238AF89815E9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05873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3A2569-6830-407C-B614-AEC8FEF456C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794447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E790AA-C3F8-4350-BA7E-DB5A493C92A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004684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38A952-C558-454A-90F5-8692403C8E63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895760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25EF20-E947-416A-8B80-AA7F05082C79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64437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3A96D0-416E-4D14-88F1-CDCEA43C8644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551015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7EBF9B-98B1-4D5E-B749-80C3D2BEE4B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95464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86DAEE-203A-4F18-B31E-382ED627C18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146551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6C03A4-11D9-488C-BC79-2D1F4E5100C3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459683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CEEB86-DBD1-4F02-9555-0926E907B08D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133152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lo stile del titolo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  <a:p>
            <a:pPr lvl="3"/>
            <a:r>
              <a:rPr lang="it-IT" altLang="it-IT" smtClean="0"/>
              <a:t>Quarto livello</a:t>
            </a:r>
          </a:p>
          <a:p>
            <a:pPr lvl="4"/>
            <a:r>
              <a:rPr lang="it-IT" altLang="it-IT" smtClean="0"/>
              <a:t>Quinto livello</a:t>
            </a:r>
          </a:p>
        </p:txBody>
      </p:sp>
      <p:pic>
        <p:nvPicPr>
          <p:cNvPr id="11268" name="Picture 5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1950" y="6165850"/>
            <a:ext cx="1560513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Line 6"/>
          <p:cNvSpPr>
            <a:spLocks noChangeShapeType="1"/>
          </p:cNvSpPr>
          <p:nvPr/>
        </p:nvSpPr>
        <p:spPr bwMode="auto">
          <a:xfrm>
            <a:off x="350838" y="6308725"/>
            <a:ext cx="3898900" cy="0"/>
          </a:xfrm>
          <a:prstGeom prst="line">
            <a:avLst/>
          </a:prstGeom>
          <a:noFill/>
          <a:ln w="25400">
            <a:solidFill>
              <a:srgbClr val="E3600F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it-IT"/>
          </a:p>
        </p:txBody>
      </p:sp>
      <p:sp>
        <p:nvSpPr>
          <p:cNvPr id="1030" name="Line 7"/>
          <p:cNvSpPr>
            <a:spLocks noChangeShapeType="1"/>
          </p:cNvSpPr>
          <p:nvPr/>
        </p:nvSpPr>
        <p:spPr bwMode="auto">
          <a:xfrm>
            <a:off x="5654675" y="6597650"/>
            <a:ext cx="3898900" cy="0"/>
          </a:xfrm>
          <a:prstGeom prst="line">
            <a:avLst/>
          </a:prstGeom>
          <a:noFill/>
          <a:ln w="25400">
            <a:solidFill>
              <a:srgbClr val="073C6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it-IT"/>
          </a:p>
        </p:txBody>
      </p:sp>
      <p:sp>
        <p:nvSpPr>
          <p:cNvPr id="411652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519613" y="6599238"/>
            <a:ext cx="865187" cy="3587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073C62"/>
                </a:solidFill>
                <a:latin typeface="+mn-lt"/>
              </a:defRPr>
            </a:lvl1pPr>
          </a:lstStyle>
          <a:p>
            <a:pPr>
              <a:defRPr/>
            </a:pPr>
            <a:fld id="{D2CA81D0-86F5-44B2-B6BE-139E0BD5259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0" y="6237288"/>
            <a:ext cx="9906000" cy="620712"/>
          </a:xfrm>
          <a:prstGeom prst="rect">
            <a:avLst/>
          </a:prstGeom>
          <a:solidFill>
            <a:srgbClr val="1E3D5C">
              <a:alpha val="5098"/>
            </a:srgbClr>
          </a:solidFill>
          <a:ln>
            <a:noFill/>
          </a:ln>
          <a:extLst/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it-IT" altLang="it-IT" smtClean="0"/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0" y="333375"/>
            <a:ext cx="9906000" cy="620713"/>
          </a:xfrm>
          <a:prstGeom prst="rect">
            <a:avLst/>
          </a:prstGeom>
          <a:solidFill>
            <a:srgbClr val="1E3D5C">
              <a:alpha val="5098"/>
            </a:srgbClr>
          </a:solidFill>
          <a:ln>
            <a:noFill/>
          </a:ln>
          <a:extLst/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it-IT" altLang="it-IT" smtClean="0"/>
          </a:p>
        </p:txBody>
      </p:sp>
      <p:sp>
        <p:nvSpPr>
          <p:cNvPr id="1034" name="Rettangolo 9"/>
          <p:cNvSpPr>
            <a:spLocks noChangeArrowheads="1"/>
          </p:cNvSpPr>
          <p:nvPr userDrawn="1"/>
        </p:nvSpPr>
        <p:spPr bwMode="auto">
          <a:xfrm>
            <a:off x="5991225" y="6261100"/>
            <a:ext cx="1873250" cy="233363"/>
          </a:xfrm>
          <a:prstGeom prst="rect">
            <a:avLst/>
          </a:prstGeom>
          <a:noFill/>
          <a:ln>
            <a:noFill/>
          </a:ln>
          <a:extLst/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it-IT" altLang="it-IT" sz="1000" b="1" i="1" smtClean="0"/>
              <a:t>In collaborazione con </a:t>
            </a:r>
          </a:p>
        </p:txBody>
      </p:sp>
      <p:pic>
        <p:nvPicPr>
          <p:cNvPr id="11275" name="Picture 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9713" y="6215063"/>
            <a:ext cx="350837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6" name="Picture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8625" y="6165850"/>
            <a:ext cx="8969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E3600F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E3600F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E3600F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E3600F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E3600F"/>
          </a:solidFill>
          <a:latin typeface="Verdan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rgbClr val="E3600F"/>
          </a:solidFill>
          <a:latin typeface="Verdan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rgbClr val="E3600F"/>
          </a:solidFill>
          <a:latin typeface="Verdan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rgbClr val="E3600F"/>
          </a:solidFill>
          <a:latin typeface="Verdan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rgbClr val="E3600F"/>
          </a:solidFill>
          <a:latin typeface="Verdana" pitchFamily="34" charset="0"/>
        </a:defRPr>
      </a:lvl9pPr>
    </p:titleStyle>
    <p:bodyStyle>
      <a:lvl1pPr marL="342900" indent="11113" algn="l" rtl="0" eaLnBrk="0" fontAlgn="base" hangingPunct="0">
        <a:spcBef>
          <a:spcPct val="20000"/>
        </a:spcBef>
        <a:spcAft>
          <a:spcPct val="0"/>
        </a:spcAft>
        <a:defRPr sz="3200">
          <a:solidFill>
            <a:srgbClr val="073C62"/>
          </a:solidFill>
          <a:latin typeface="+mn-lt"/>
          <a:ea typeface="+mn-ea"/>
          <a:cs typeface="+mn-cs"/>
        </a:defRPr>
      </a:lvl1pPr>
      <a:lvl2pPr marL="819150" indent="-28575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800">
          <a:solidFill>
            <a:srgbClr val="073C62"/>
          </a:solidFill>
          <a:latin typeface="+mn-lt"/>
        </a:defRPr>
      </a:lvl2pPr>
      <a:lvl3pPr marL="1227138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073C62"/>
          </a:solidFill>
          <a:latin typeface="+mn-lt"/>
        </a:defRPr>
      </a:lvl3pPr>
      <a:lvl4pPr marL="163512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073C62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defRPr sz="1600">
          <a:solidFill>
            <a:srgbClr val="073C62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defRPr sz="1600">
          <a:solidFill>
            <a:srgbClr val="073C62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defRPr sz="1600">
          <a:solidFill>
            <a:srgbClr val="073C62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defRPr sz="1600">
          <a:solidFill>
            <a:srgbClr val="073C62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defRPr sz="1600">
          <a:solidFill>
            <a:srgbClr val="073C62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5" Type="http://schemas.openxmlformats.org/officeDocument/2006/relationships/image" Target="../media/image8.png"/><Relationship Id="rId4" Type="http://schemas.openxmlformats.org/officeDocument/2006/relationships/oleObject" Target="../embeddings/oleObject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9.png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0.png"/><Relationship Id="rId4" Type="http://schemas.openxmlformats.org/officeDocument/2006/relationships/oleObject" Target="../embeddings/oleObject3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1.png"/><Relationship Id="rId4" Type="http://schemas.openxmlformats.org/officeDocument/2006/relationships/oleObject" Target="../embeddings/oleObject4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2.png"/><Relationship Id="rId4" Type="http://schemas.openxmlformats.org/officeDocument/2006/relationships/oleObject" Target="../embeddings/oleObject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3.png"/><Relationship Id="rId4" Type="http://schemas.openxmlformats.org/officeDocument/2006/relationships/oleObject" Target="../embeddings/oleObject6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4.png"/><Relationship Id="rId4" Type="http://schemas.openxmlformats.org/officeDocument/2006/relationships/oleObject" Target="../embeddings/oleObject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6.png"/><Relationship Id="rId4" Type="http://schemas.openxmlformats.org/officeDocument/2006/relationships/oleObject" Target="../embeddings/oleObject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1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0.vml"/><Relationship Id="rId6" Type="http://schemas.openxmlformats.org/officeDocument/2006/relationships/tags" Target="../tags/tag5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4.xml"/><Relationship Id="rId10" Type="http://schemas.openxmlformats.org/officeDocument/2006/relationships/notesSlide" Target="../notesSlides/notesSlide18.xml"/><Relationship Id="rId4" Type="http://schemas.openxmlformats.org/officeDocument/2006/relationships/tags" Target="../tags/tag3.xml"/><Relationship Id="rId9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588" y="2133600"/>
            <a:ext cx="9906000" cy="2233613"/>
          </a:xfrm>
        </p:spPr>
        <p:txBody>
          <a:bodyPr/>
          <a:lstStyle/>
          <a:p>
            <a:pPr>
              <a:defRPr/>
            </a:pPr>
            <a:r>
              <a:rPr lang="it-IT" sz="3600" b="1" dirty="0" smtClean="0">
                <a:solidFill>
                  <a:srgbClr val="E3600F"/>
                </a:solidFill>
                <a:latin typeface="+mj-lt"/>
                <a:ea typeface="+mj-ea"/>
                <a:cs typeface="+mj-cs"/>
              </a:rPr>
              <a:t>Customer Satisfaction 2013</a:t>
            </a:r>
          </a:p>
          <a:p>
            <a:pPr>
              <a:defRPr/>
            </a:pPr>
            <a:endParaRPr lang="it-IT" sz="2400" i="1" dirty="0" smtClean="0">
              <a:solidFill>
                <a:srgbClr val="E3600F"/>
              </a:solidFill>
              <a:latin typeface="+mj-lt"/>
              <a:ea typeface="+mj-ea"/>
              <a:cs typeface="+mj-cs"/>
            </a:endParaRPr>
          </a:p>
          <a:p>
            <a:pPr>
              <a:defRPr/>
            </a:pPr>
            <a:r>
              <a:rPr lang="it-IT" sz="2400" i="1" dirty="0" smtClean="0">
                <a:solidFill>
                  <a:srgbClr val="0B2F5B"/>
                </a:solidFill>
                <a:latin typeface="+mj-lt"/>
                <a:ea typeface="+mj-ea"/>
                <a:cs typeface="+mj-cs"/>
              </a:rPr>
              <a:t>Report CIVIS</a:t>
            </a:r>
          </a:p>
        </p:txBody>
      </p:sp>
      <p:sp>
        <p:nvSpPr>
          <p:cNvPr id="18437" name="Rectangle 1029"/>
          <p:cNvSpPr>
            <a:spLocks noChangeArrowheads="1"/>
          </p:cNvSpPr>
          <p:nvPr/>
        </p:nvSpPr>
        <p:spPr bwMode="auto">
          <a:xfrm>
            <a:off x="228600" y="1676400"/>
            <a:ext cx="69342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7275" tIns="43638" rIns="87275" bIns="43638"/>
          <a:lstStyle/>
          <a:p>
            <a:pPr defTabSz="873125">
              <a:spcBef>
                <a:spcPct val="20000"/>
              </a:spcBef>
              <a:buClr>
                <a:schemeClr val="accent2"/>
              </a:buClr>
              <a:buSzPct val="70000"/>
              <a:buFont typeface="Wingdings" pitchFamily="2" charset="2"/>
              <a:buNone/>
              <a:defRPr/>
            </a:pPr>
            <a:r>
              <a:rPr lang="it-IT" sz="1400" b="1" dirty="0">
                <a:solidFill>
                  <a:srgbClr val="003399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</a:p>
          <a:p>
            <a:pPr defTabSz="873125">
              <a:spcBef>
                <a:spcPct val="20000"/>
              </a:spcBef>
              <a:buClr>
                <a:schemeClr val="accent2"/>
              </a:buClr>
              <a:buSzPct val="70000"/>
              <a:buFont typeface="Wingdings" pitchFamily="2" charset="2"/>
              <a:buNone/>
              <a:defRPr/>
            </a:pPr>
            <a:endParaRPr lang="it-IT" sz="1400" b="1" dirty="0">
              <a:solidFill>
                <a:srgbClr val="003399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2292" name="AutoShape 1033" descr="image001"/>
          <p:cNvSpPr>
            <a:spLocks noChangeAspect="1" noChangeArrowheads="1"/>
          </p:cNvSpPr>
          <p:nvPr/>
        </p:nvSpPr>
        <p:spPr bwMode="auto">
          <a:xfrm>
            <a:off x="4519613" y="2971800"/>
            <a:ext cx="868362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it-IT" altLang="it-IT"/>
          </a:p>
        </p:txBody>
      </p:sp>
      <p:sp>
        <p:nvSpPr>
          <p:cNvPr id="12293" name="AutoShape 1035" descr="image001"/>
          <p:cNvSpPr>
            <a:spLocks noChangeAspect="1" noChangeArrowheads="1"/>
          </p:cNvSpPr>
          <p:nvPr/>
        </p:nvSpPr>
        <p:spPr bwMode="auto">
          <a:xfrm>
            <a:off x="4519613" y="2971800"/>
            <a:ext cx="868362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it-IT" altLang="it-IT"/>
          </a:p>
        </p:txBody>
      </p:sp>
      <p:sp>
        <p:nvSpPr>
          <p:cNvPr id="12294" name="AutoShape 1038" descr="image001"/>
          <p:cNvSpPr>
            <a:spLocks noChangeAspect="1" noChangeArrowheads="1"/>
          </p:cNvSpPr>
          <p:nvPr/>
        </p:nvSpPr>
        <p:spPr bwMode="auto">
          <a:xfrm>
            <a:off x="4519613" y="2971800"/>
            <a:ext cx="868362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it-IT" altLang="it-IT"/>
          </a:p>
        </p:txBody>
      </p:sp>
      <p:sp>
        <p:nvSpPr>
          <p:cNvPr id="8" name="CasellaDiTesto 7"/>
          <p:cNvSpPr txBox="1"/>
          <p:nvPr/>
        </p:nvSpPr>
        <p:spPr>
          <a:xfrm>
            <a:off x="5387975" y="5373688"/>
            <a:ext cx="3886200" cy="3381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defRPr/>
            </a:pPr>
            <a:r>
              <a:rPr lang="it-IT" sz="1600" b="1" dirty="0">
                <a:solidFill>
                  <a:srgbClr val="0B2F5B"/>
                </a:solidFill>
                <a:latin typeface="+mn-lt"/>
              </a:rPr>
              <a:t>Roma, </a:t>
            </a:r>
            <a:r>
              <a:rPr lang="it-IT" sz="1600" b="1" dirty="0" smtClean="0">
                <a:solidFill>
                  <a:srgbClr val="0B2F5B"/>
                </a:solidFill>
                <a:latin typeface="+mn-lt"/>
              </a:rPr>
              <a:t>febbraio </a:t>
            </a:r>
            <a:r>
              <a:rPr lang="it-IT" sz="1600" b="1" dirty="0">
                <a:solidFill>
                  <a:srgbClr val="0B2F5B"/>
                </a:solidFill>
                <a:latin typeface="+mn-lt"/>
              </a:rPr>
              <a:t>2014</a:t>
            </a:r>
          </a:p>
        </p:txBody>
      </p:sp>
      <p:pic>
        <p:nvPicPr>
          <p:cNvPr id="1229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188" y="4935538"/>
            <a:ext cx="1968500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3375"/>
            <a:ext cx="9344025" cy="647700"/>
          </a:xfrm>
        </p:spPr>
        <p:txBody>
          <a:bodyPr/>
          <a:lstStyle/>
          <a:p>
            <a:r>
              <a:rPr lang="en-US" altLang="it-IT" sz="2400" smtClean="0"/>
              <a:t>VALUTAZIONE DEGLI INDICATORI</a:t>
            </a:r>
          </a:p>
        </p:txBody>
      </p:sp>
      <p:sp>
        <p:nvSpPr>
          <p:cNvPr id="1028" name="CasellaDiTesto 1"/>
          <p:cNvSpPr txBox="1">
            <a:spLocks noChangeArrowheads="1"/>
          </p:cNvSpPr>
          <p:nvPr/>
        </p:nvSpPr>
        <p:spPr bwMode="auto">
          <a:xfrm>
            <a:off x="273050" y="6381750"/>
            <a:ext cx="374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200" b="1">
                <a:solidFill>
                  <a:srgbClr val="E3600F"/>
                </a:solidFill>
              </a:rPr>
              <a:t>Direzione Centrale Servizi ai Contribuenti </a:t>
            </a: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4806950" y="6599238"/>
            <a:ext cx="865188" cy="358775"/>
          </a:xfrm>
        </p:spPr>
        <p:txBody>
          <a:bodyPr/>
          <a:lstStyle/>
          <a:p>
            <a:pPr>
              <a:defRPr/>
            </a:pPr>
            <a:fld id="{E903F56C-0AD6-4BCA-8EE7-6DF49AEB49E6}" type="slidenum">
              <a:rPr lang="it-IT" smtClean="0"/>
              <a:pPr>
                <a:defRPr/>
              </a:pPr>
              <a:t>10</a:t>
            </a:fld>
            <a:endParaRPr lang="it-IT"/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296863" y="981075"/>
            <a:ext cx="921702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buClr>
                <a:srgbClr val="FF9933"/>
              </a:buClr>
              <a:defRPr/>
            </a:pPr>
            <a:r>
              <a:rPr lang="it-IT" sz="1100" b="1" i="1" kern="0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: Le </a:t>
            </a:r>
            <a:r>
              <a:rPr lang="it-IT" sz="1100" b="1" i="1" kern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ediamo ora di valutare la sua soddisfazione in relazione ai seguenti aspetti del servizio CIVIS </a:t>
            </a:r>
            <a:r>
              <a:rPr lang="it-IT" sz="1000" i="1" kern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it-IT" sz="1000" i="1" kern="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26" name="Grafico 3"/>
          <p:cNvGraphicFramePr>
            <a:graphicFrameLocks/>
          </p:cNvGraphicFramePr>
          <p:nvPr/>
        </p:nvGraphicFramePr>
        <p:xfrm>
          <a:off x="4614863" y="1504950"/>
          <a:ext cx="3794125" cy="4803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r:id="rId4" imgW="3920068" imgH="4804064" progId="Excel.Chart.8">
                  <p:embed/>
                </p:oleObj>
              </mc:Choice>
              <mc:Fallback>
                <p:oleObj r:id="rId4" imgW="3920068" imgH="4804064" progId="Excel.Chart.8">
                  <p:embed/>
                  <p:pic>
                    <p:nvPicPr>
                      <p:cNvPr id="0" name="Grafico 3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14863" y="1504950"/>
                        <a:ext cx="3794125" cy="48037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Rettangolo 6"/>
          <p:cNvSpPr>
            <a:spLocks noChangeArrowheads="1"/>
          </p:cNvSpPr>
          <p:nvPr/>
        </p:nvSpPr>
        <p:spPr bwMode="auto">
          <a:xfrm>
            <a:off x="5529263" y="1468438"/>
            <a:ext cx="1079500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000"/>
              <a:t>% punteggi</a:t>
            </a:r>
          </a:p>
        </p:txBody>
      </p:sp>
      <p:pic>
        <p:nvPicPr>
          <p:cNvPr id="1032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1550" y="476250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Rettangolo 12"/>
          <p:cNvSpPr>
            <a:spLocks noChangeArrowheads="1"/>
          </p:cNvSpPr>
          <p:nvPr/>
        </p:nvSpPr>
        <p:spPr bwMode="auto">
          <a:xfrm>
            <a:off x="7977188" y="1630363"/>
            <a:ext cx="1008062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it-IT" altLang="it-IT" sz="1000"/>
              <a:t>% Punt. 5-6</a:t>
            </a:r>
          </a:p>
        </p:txBody>
      </p:sp>
      <p:graphicFrame>
        <p:nvGraphicFramePr>
          <p:cNvPr id="14" name="Tabella 13"/>
          <p:cNvGraphicFramePr>
            <a:graphicFrameLocks noGrp="1"/>
          </p:cNvGraphicFramePr>
          <p:nvPr/>
        </p:nvGraphicFramePr>
        <p:xfrm>
          <a:off x="8348663" y="1846263"/>
          <a:ext cx="720725" cy="42259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0725"/>
              </a:tblGrid>
              <a:tr h="301852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</a:p>
                  </a:txBody>
                  <a:tcPr marL="9534" marR="9534" marT="9527" marB="0" anchor="ctr"/>
                </a:tc>
              </a:tr>
              <a:tr h="301852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6</a:t>
                      </a:r>
                    </a:p>
                  </a:txBody>
                  <a:tcPr marL="9534" marR="9534" marT="9527" marB="0" anchor="ctr"/>
                </a:tc>
              </a:tr>
              <a:tr h="301852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1</a:t>
                      </a:r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34" marR="9534" marT="9527" marB="0" anchor="ctr"/>
                </a:tc>
              </a:tr>
              <a:tr h="301852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1</a:t>
                      </a:r>
                    </a:p>
                  </a:txBody>
                  <a:tcPr marL="9534" marR="9534" marT="9527" marB="0" anchor="ctr"/>
                </a:tc>
              </a:tr>
              <a:tr h="301852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0</a:t>
                      </a:r>
                    </a:p>
                  </a:txBody>
                  <a:tcPr marL="9534" marR="9534" marT="9527" marB="0" anchor="ctr"/>
                </a:tc>
              </a:tr>
              <a:tr h="301852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9</a:t>
                      </a:r>
                    </a:p>
                  </a:txBody>
                  <a:tcPr marL="9534" marR="9534" marT="9527" marB="0" anchor="ctr"/>
                </a:tc>
              </a:tr>
              <a:tr h="301852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7</a:t>
                      </a:r>
                    </a:p>
                  </a:txBody>
                  <a:tcPr marL="9534" marR="9534" marT="9527" marB="0" anchor="ctr"/>
                </a:tc>
              </a:tr>
              <a:tr h="301852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5</a:t>
                      </a:r>
                    </a:p>
                  </a:txBody>
                  <a:tcPr marL="9534" marR="9534" marT="9527" marB="0" anchor="ctr"/>
                </a:tc>
              </a:tr>
              <a:tr h="301852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</a:t>
                      </a:r>
                    </a:p>
                  </a:txBody>
                  <a:tcPr marL="9534" marR="9534" marT="9527" marB="0" anchor="ctr"/>
                </a:tc>
              </a:tr>
              <a:tr h="301852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</a:t>
                      </a:r>
                    </a:p>
                  </a:txBody>
                  <a:tcPr marL="9534" marR="9534" marT="9527" marB="0" anchor="ctr"/>
                </a:tc>
              </a:tr>
              <a:tr h="301852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1</a:t>
                      </a:r>
                    </a:p>
                  </a:txBody>
                  <a:tcPr marL="9534" marR="9534" marT="9527" marB="0" anchor="ctr"/>
                </a:tc>
              </a:tr>
              <a:tr h="301852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8</a:t>
                      </a:r>
                    </a:p>
                  </a:txBody>
                  <a:tcPr marL="9534" marR="9534" marT="9527" marB="0" anchor="ctr"/>
                </a:tc>
              </a:tr>
              <a:tr h="301852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3</a:t>
                      </a:r>
                    </a:p>
                  </a:txBody>
                  <a:tcPr marL="9534" marR="9534" marT="9527" marB="0" anchor="ctr"/>
                </a:tc>
              </a:tr>
              <a:tr h="301852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9</a:t>
                      </a:r>
                    </a:p>
                  </a:txBody>
                  <a:tcPr marL="9534" marR="9534" marT="9527" marB="0" anchor="ctr"/>
                </a:tc>
              </a:tr>
            </a:tbl>
          </a:graphicData>
        </a:graphic>
      </p:graphicFrame>
      <p:sp>
        <p:nvSpPr>
          <p:cNvPr id="1049" name="Rettangolo 15"/>
          <p:cNvSpPr>
            <a:spLocks noChangeArrowheads="1"/>
          </p:cNvSpPr>
          <p:nvPr/>
        </p:nvSpPr>
        <p:spPr bwMode="auto">
          <a:xfrm>
            <a:off x="8840788" y="1384300"/>
            <a:ext cx="1079500" cy="38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it-IT" altLang="it-IT" sz="1000" b="1"/>
              <a:t>Indice</a:t>
            </a:r>
          </a:p>
          <a:p>
            <a:pPr algn="ctr" eaLnBrk="1" hangingPunct="1"/>
            <a:r>
              <a:rPr lang="it-IT" altLang="it-IT" sz="1000"/>
              <a:t>soddisfazione</a:t>
            </a:r>
          </a:p>
        </p:txBody>
      </p:sp>
      <p:sp>
        <p:nvSpPr>
          <p:cNvPr id="17" name="Rectangle 2"/>
          <p:cNvSpPr txBox="1">
            <a:spLocks noChangeArrowheads="1"/>
          </p:cNvSpPr>
          <p:nvPr/>
        </p:nvSpPr>
        <p:spPr bwMode="auto">
          <a:xfrm>
            <a:off x="273050" y="1433513"/>
            <a:ext cx="2951163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0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: totale campione</a:t>
            </a:r>
          </a:p>
        </p:txBody>
      </p:sp>
      <p:graphicFrame>
        <p:nvGraphicFramePr>
          <p:cNvPr id="9" name="Tabella 8"/>
          <p:cNvGraphicFramePr>
            <a:graphicFrameLocks noGrp="1"/>
          </p:cNvGraphicFramePr>
          <p:nvPr/>
        </p:nvGraphicFramePr>
        <p:xfrm>
          <a:off x="158750" y="1865313"/>
          <a:ext cx="4506913" cy="4103694"/>
        </p:xfrm>
        <a:graphic>
          <a:graphicData uri="http://schemas.openxmlformats.org/drawingml/2006/table">
            <a:tbl>
              <a:tblPr/>
              <a:tblGrid>
                <a:gridCol w="4506913"/>
              </a:tblGrid>
              <a:tr h="293121">
                <a:tc>
                  <a:txBody>
                    <a:bodyPr/>
                    <a:lstStyle/>
                    <a:p>
                      <a:pPr algn="r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acilità di accesso al servizio</a:t>
                      </a:r>
                    </a:p>
                  </a:txBody>
                  <a:tcPr marL="9524" marR="9524" marT="952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3121">
                <a:tc>
                  <a:txBody>
                    <a:bodyPr/>
                    <a:lstStyle/>
                    <a:p>
                      <a:pPr algn="r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acilità di utilizzo dell’applicazione</a:t>
                      </a:r>
                    </a:p>
                  </a:txBody>
                  <a:tcPr marL="9524" marR="9524" marT="952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3121"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ntinuità di funzionamento del servizio</a:t>
                      </a:r>
                    </a:p>
                  </a:txBody>
                  <a:tcPr marL="9524" marR="9524" marT="952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3121"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emplicità e chiarezza delle modalità di abilitazione al servizio</a:t>
                      </a:r>
                    </a:p>
                  </a:txBody>
                  <a:tcPr marL="9524" marR="9524" marT="952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3121"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eguatezza dei tempi di risposta</a:t>
                      </a:r>
                    </a:p>
                  </a:txBody>
                  <a:tcPr marL="9524" marR="9524" marT="952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3121"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apidità di risposta alla richiesta di assistenza</a:t>
                      </a:r>
                    </a:p>
                  </a:txBody>
                  <a:tcPr marL="9524" marR="9524" marT="952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3121"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hiarezza e completezza delle informazioni sul servizio</a:t>
                      </a:r>
                    </a:p>
                  </a:txBody>
                  <a:tcPr marL="9524" marR="9524" marT="952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3121"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acilità di reperimento dell’esito del servizio</a:t>
                      </a:r>
                    </a:p>
                  </a:txBody>
                  <a:tcPr marL="9524" marR="9524" marT="952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3121"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hiarezza e completezza delle motivazioni per la richiesta di assistenza </a:t>
                      </a:r>
                    </a:p>
                  </a:txBody>
                  <a:tcPr marL="9524" marR="9524" marT="952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3121"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hiarezza e completezza informazioni da fornire per avere assistenza richiesta.</a:t>
                      </a:r>
                    </a:p>
                  </a:txBody>
                  <a:tcPr marL="9524" marR="9524" marT="952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3121"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hiarezza e completezza dell’esito del servizio</a:t>
                      </a:r>
                    </a:p>
                  </a:txBody>
                  <a:tcPr marL="9524" marR="9524" marT="952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3121">
                <a:tc>
                  <a:txBody>
                    <a:bodyPr/>
                    <a:lstStyle/>
                    <a:p>
                      <a:pPr algn="r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ompletezza delle informazioni sullo stato della pratica</a:t>
                      </a:r>
                    </a:p>
                  </a:txBody>
                  <a:tcPr marL="9524" marR="9524" marT="952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3121">
                <a:tc>
                  <a:txBody>
                    <a:bodyPr/>
                    <a:lstStyle/>
                    <a:p>
                      <a:pPr algn="r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pacità degli ALERT di fornire aiuto nell’utilizzo del servizio</a:t>
                      </a:r>
                    </a:p>
                  </a:txBody>
                  <a:tcPr marL="9524" marR="9524" marT="952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293121">
                <a:tc>
                  <a:txBody>
                    <a:bodyPr/>
                    <a:lstStyle/>
                    <a:p>
                      <a:pPr algn="r" fontAlgn="ctr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fficacia degli strumenti di assistenza (call center, pagine informative on line)</a:t>
                      </a:r>
                    </a:p>
                  </a:txBody>
                  <a:tcPr marL="9524" marR="9524" marT="9523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5" name="Tabella 24"/>
          <p:cNvGraphicFramePr>
            <a:graphicFrameLocks noGrp="1"/>
          </p:cNvGraphicFramePr>
          <p:nvPr/>
        </p:nvGraphicFramePr>
        <p:xfrm>
          <a:off x="8985250" y="1828800"/>
          <a:ext cx="720725" cy="42259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0725"/>
              </a:tblGrid>
              <a:tr h="30185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400" b="1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0,5</a:t>
                      </a:r>
                      <a:endParaRPr lang="it-IT" sz="1400" b="1" i="1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34" marR="9534" marT="9526" marB="0" anchor="b"/>
                </a:tc>
              </a:tr>
              <a:tr h="30185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400" b="1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9,7</a:t>
                      </a:r>
                      <a:endParaRPr lang="it-IT" sz="1400" b="1" i="1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34" marR="9534" marT="9526" marB="0" anchor="b"/>
                </a:tc>
              </a:tr>
              <a:tr h="30185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400" b="1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7,3</a:t>
                      </a:r>
                      <a:endParaRPr lang="it-IT" sz="1400" b="1" i="1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34" marR="9534" marT="9526" marB="0" anchor="b"/>
                </a:tc>
              </a:tr>
              <a:tr h="30185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400" b="1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6,5</a:t>
                      </a:r>
                      <a:endParaRPr lang="it-IT" sz="1400" b="1" i="1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34" marR="9534" marT="9526" marB="0" anchor="b"/>
                </a:tc>
              </a:tr>
              <a:tr h="30185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400" b="1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4,9</a:t>
                      </a:r>
                      <a:endParaRPr lang="it-IT" sz="1400" b="1" i="1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34" marR="9534" marT="9526" marB="0" anchor="b"/>
                </a:tc>
              </a:tr>
              <a:tr h="30185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400" b="1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4,7</a:t>
                      </a:r>
                      <a:endParaRPr lang="it-IT" sz="1400" b="1" i="1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34" marR="9534" marT="9526" marB="0" anchor="b"/>
                </a:tc>
              </a:tr>
              <a:tr h="30185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400" b="1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2,3</a:t>
                      </a:r>
                      <a:endParaRPr lang="it-IT" sz="1400" b="1" i="1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34" marR="9534" marT="9526" marB="0" anchor="b"/>
                </a:tc>
              </a:tr>
              <a:tr h="30185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400" b="1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2,1</a:t>
                      </a:r>
                      <a:endParaRPr lang="it-IT" sz="1400" b="1" i="1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34" marR="9534" marT="9526" marB="0" anchor="b"/>
                </a:tc>
              </a:tr>
              <a:tr h="30185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400" b="1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0,7</a:t>
                      </a:r>
                      <a:endParaRPr lang="it-IT" sz="1400" b="1" i="1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34" marR="9534" marT="9526" marB="0" anchor="b"/>
                </a:tc>
              </a:tr>
              <a:tr h="30185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400" b="1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0,5</a:t>
                      </a:r>
                      <a:endParaRPr lang="it-IT" sz="1400" b="1" i="1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34" marR="9534" marT="9526" marB="0" anchor="b"/>
                </a:tc>
              </a:tr>
              <a:tr h="30185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400" b="1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8,9</a:t>
                      </a:r>
                      <a:endParaRPr lang="it-IT" sz="1400" b="1" i="1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34" marR="9534" marT="9526" marB="0" anchor="b"/>
                </a:tc>
              </a:tr>
              <a:tr h="30185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400" b="1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7,9</a:t>
                      </a:r>
                      <a:endParaRPr lang="it-IT" sz="1400" b="1" i="1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34" marR="9534" marT="9526" marB="0" anchor="b"/>
                </a:tc>
              </a:tr>
              <a:tr h="30185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400" b="1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5,1</a:t>
                      </a:r>
                      <a:endParaRPr lang="it-IT" sz="1400" b="1" i="1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34" marR="9534" marT="9526" marB="0" anchor="b"/>
                </a:tc>
              </a:tr>
              <a:tr h="30185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400" b="1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1,2</a:t>
                      </a:r>
                      <a:endParaRPr lang="it-IT" sz="1400" b="1" i="1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34" marR="9534" marT="9526" marB="0" anchor="b"/>
                </a:tc>
              </a:tr>
            </a:tbl>
          </a:graphicData>
        </a:graphic>
      </p:graphicFrame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3375"/>
            <a:ext cx="9344025" cy="647700"/>
          </a:xfrm>
        </p:spPr>
        <p:txBody>
          <a:bodyPr/>
          <a:lstStyle/>
          <a:p>
            <a:r>
              <a:rPr lang="en-US" altLang="it-IT" sz="2400" smtClean="0"/>
              <a:t>IL PROFILO DEGLI UTILIZZATORI  (1/2)</a:t>
            </a:r>
          </a:p>
        </p:txBody>
      </p:sp>
      <p:sp>
        <p:nvSpPr>
          <p:cNvPr id="2052" name="CasellaDiTesto 1"/>
          <p:cNvSpPr txBox="1">
            <a:spLocks noChangeArrowheads="1"/>
          </p:cNvSpPr>
          <p:nvPr/>
        </p:nvSpPr>
        <p:spPr bwMode="auto">
          <a:xfrm>
            <a:off x="273050" y="6381750"/>
            <a:ext cx="374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200" b="1">
                <a:solidFill>
                  <a:srgbClr val="E3600F"/>
                </a:solidFill>
              </a:rPr>
              <a:t>Direzione Centrale Servizi ai Contribuenti </a:t>
            </a: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04978E6-1C01-4EBD-AA5A-782E3373A41C}" type="slidenum">
              <a:rPr lang="it-IT" smtClean="0"/>
              <a:pPr>
                <a:defRPr/>
              </a:pPr>
              <a:t>11</a:t>
            </a:fld>
            <a:endParaRPr lang="it-IT"/>
          </a:p>
        </p:txBody>
      </p:sp>
      <p:graphicFrame>
        <p:nvGraphicFramePr>
          <p:cNvPr id="2050" name="Grafico 2"/>
          <p:cNvGraphicFramePr>
            <a:graphicFrameLocks/>
          </p:cNvGraphicFramePr>
          <p:nvPr/>
        </p:nvGraphicFramePr>
        <p:xfrm>
          <a:off x="1611313" y="1639888"/>
          <a:ext cx="6705600" cy="45037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r:id="rId4" imgW="6706181" imgH="4505334" progId="Excel.Chart.8">
                  <p:embed/>
                </p:oleObj>
              </mc:Choice>
              <mc:Fallback>
                <p:oleObj r:id="rId4" imgW="6706181" imgH="4505334" progId="Excel.Chart.8">
                  <p:embed/>
                  <p:pic>
                    <p:nvPicPr>
                      <p:cNvPr id="0" name="Grafico 2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1313" y="1639888"/>
                        <a:ext cx="6705600" cy="45037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54" name="Connettore 1 5"/>
          <p:cNvCxnSpPr>
            <a:cxnSpLocks noChangeShapeType="1"/>
            <a:endCxn id="2055" idx="1"/>
          </p:cNvCxnSpPr>
          <p:nvPr/>
        </p:nvCxnSpPr>
        <p:spPr bwMode="auto">
          <a:xfrm flipV="1">
            <a:off x="5924550" y="2233613"/>
            <a:ext cx="468313" cy="693737"/>
          </a:xfrm>
          <a:prstGeom prst="line">
            <a:avLst/>
          </a:prstGeom>
          <a:noFill/>
          <a:ln w="25400" algn="ctr">
            <a:solidFill>
              <a:srgbClr val="FFCC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55" name="Rettangolo 6"/>
          <p:cNvSpPr>
            <a:spLocks noChangeArrowheads="1"/>
          </p:cNvSpPr>
          <p:nvPr/>
        </p:nvSpPr>
        <p:spPr bwMode="auto">
          <a:xfrm>
            <a:off x="6392863" y="1270000"/>
            <a:ext cx="3405187" cy="1927225"/>
          </a:xfrm>
          <a:prstGeom prst="rect">
            <a:avLst/>
          </a:prstGeom>
          <a:noFill/>
          <a:ln w="50800" algn="ctr">
            <a:solidFill>
              <a:srgbClr val="FFCC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200" i="1"/>
              <a:t>Profilazione Entratel  utenza professionale</a:t>
            </a:r>
          </a:p>
          <a:p>
            <a:pPr eaLnBrk="1" hangingPunct="1"/>
            <a:endParaRPr lang="it-IT" altLang="it-IT" sz="1200"/>
          </a:p>
          <a:p>
            <a:pPr eaLnBrk="1" hangingPunct="1"/>
            <a:r>
              <a:rPr lang="it-IT" altLang="it-IT" sz="1200"/>
              <a:t>Iscritto albo commercialisti/contabili	57%</a:t>
            </a:r>
          </a:p>
          <a:p>
            <a:pPr eaLnBrk="1" hangingPunct="1"/>
            <a:r>
              <a:rPr lang="it-IT" altLang="it-IT" sz="1200"/>
              <a:t>Iscritto albo consulenti lavoro	9%</a:t>
            </a:r>
          </a:p>
          <a:p>
            <a:pPr eaLnBrk="1" hangingPunct="1"/>
            <a:r>
              <a:rPr lang="it-IT" altLang="it-IT" sz="1200"/>
              <a:t>Consulente fiscale		8%</a:t>
            </a:r>
          </a:p>
          <a:p>
            <a:pPr eaLnBrk="1" hangingPunct="1"/>
            <a:r>
              <a:rPr lang="it-IT" altLang="it-IT" sz="1200"/>
              <a:t>Iscritto albo ragionieri e periti	5%</a:t>
            </a:r>
          </a:p>
          <a:p>
            <a:pPr eaLnBrk="1" hangingPunct="1"/>
            <a:r>
              <a:rPr lang="it-IT" altLang="it-IT" sz="1200"/>
              <a:t>Società di servizi	 	5%</a:t>
            </a:r>
          </a:p>
          <a:p>
            <a:pPr eaLnBrk="1" hangingPunct="1"/>
            <a:r>
              <a:rPr lang="it-IT" altLang="it-IT" sz="1200"/>
              <a:t>Società commerciale servizi contabili	4%</a:t>
            </a:r>
          </a:p>
          <a:p>
            <a:pPr eaLnBrk="1" hangingPunct="1"/>
            <a:r>
              <a:rPr lang="it-IT" altLang="it-IT" sz="1200"/>
              <a:t>CAF			2%</a:t>
            </a:r>
          </a:p>
          <a:p>
            <a:pPr eaLnBrk="1" hangingPunct="1"/>
            <a:r>
              <a:rPr lang="it-IT" altLang="it-IT" sz="1200"/>
              <a:t>Associazioni/studi professionali	2%</a:t>
            </a:r>
          </a:p>
        </p:txBody>
      </p:sp>
      <p:sp>
        <p:nvSpPr>
          <p:cNvPr id="2056" name="Rettangolo 3"/>
          <p:cNvSpPr>
            <a:spLocks noChangeArrowheads="1"/>
          </p:cNvSpPr>
          <p:nvPr/>
        </p:nvSpPr>
        <p:spPr bwMode="auto">
          <a:xfrm>
            <a:off x="4089400" y="2049463"/>
            <a:ext cx="21590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400"/>
              <a:t>*</a:t>
            </a:r>
          </a:p>
        </p:txBody>
      </p:sp>
      <p:sp>
        <p:nvSpPr>
          <p:cNvPr id="2057" name="Rettangolo 10"/>
          <p:cNvSpPr>
            <a:spLocks noChangeArrowheads="1"/>
          </p:cNvSpPr>
          <p:nvPr/>
        </p:nvSpPr>
        <p:spPr bwMode="auto">
          <a:xfrm>
            <a:off x="488950" y="3854450"/>
            <a:ext cx="2846388" cy="183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400" i="1"/>
              <a:t>*</a:t>
            </a:r>
            <a:r>
              <a:rPr lang="it-IT" altLang="it-IT" sz="1000" i="1"/>
              <a:t>Abbiamo classificato come privati cittadini tutti i rispondenti che non sono iscritti all’albo dei dottori commercialisti ed esperti contabili, non sono iscritti all’albo dei ragionieri e dei periti commerciali, non sono iscritti all’albo dei consulenti del lavoro, non sono consulenti fiscali, non lavorano per un’Associazione o società tra professionisti (STP),  non lavorano per una Società commerciale di servizi contabili, non lavorano per una Società di servizi, non lavorano per un CAF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>
          <a:xfrm>
            <a:off x="287338" y="333375"/>
            <a:ext cx="9344025" cy="647700"/>
          </a:xfrm>
        </p:spPr>
        <p:txBody>
          <a:bodyPr/>
          <a:lstStyle/>
          <a:p>
            <a:r>
              <a:rPr lang="en-US" altLang="it-IT" sz="2400" smtClean="0"/>
              <a:t>SODDISFAZIONE COMPLESSIVA PER CIVIS</a:t>
            </a:r>
          </a:p>
        </p:txBody>
      </p:sp>
      <p:sp>
        <p:nvSpPr>
          <p:cNvPr id="3076" name="CasellaDiTesto 1"/>
          <p:cNvSpPr txBox="1">
            <a:spLocks noChangeArrowheads="1"/>
          </p:cNvSpPr>
          <p:nvPr/>
        </p:nvSpPr>
        <p:spPr bwMode="auto">
          <a:xfrm>
            <a:off x="273050" y="6381750"/>
            <a:ext cx="374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200" b="1">
                <a:solidFill>
                  <a:srgbClr val="E3600F"/>
                </a:solidFill>
              </a:rPr>
              <a:t>Direzione Centrale Servizi ai Contribuenti </a:t>
            </a: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E2E9FEA-3DC8-4BFB-B3AB-1D1D70E7570F}" type="slidenum">
              <a:rPr lang="it-IT" smtClean="0"/>
              <a:pPr>
                <a:defRPr/>
              </a:pPr>
              <a:t>12</a:t>
            </a:fld>
            <a:endParaRPr lang="it-IT"/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327025" y="1158875"/>
            <a:ext cx="9217025" cy="46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200" b="1" i="1" dirty="0" smtClean="0">
                <a:solidFill>
                  <a:schemeClr val="bg2"/>
                </a:solidFill>
                <a:latin typeface="+mj-lt"/>
              </a:rPr>
              <a:t>D: Nel complesso quanto è soddisfatto del servizio di assistenza offerto attraverso </a:t>
            </a:r>
            <a:r>
              <a:rPr lang="it-IT" sz="1200" b="1" i="1" dirty="0" smtClean="0">
                <a:solidFill>
                  <a:schemeClr val="bg2"/>
                </a:solidFill>
                <a:latin typeface="+mj-lt"/>
              </a:rPr>
              <a:t>Civis</a:t>
            </a:r>
            <a:r>
              <a:rPr lang="it-IT" sz="1200" b="1" i="1" dirty="0" smtClean="0">
                <a:solidFill>
                  <a:schemeClr val="bg2"/>
                </a:solidFill>
                <a:latin typeface="+mj-lt"/>
              </a:rPr>
              <a:t>?</a:t>
            </a:r>
          </a:p>
        </p:txBody>
      </p:sp>
      <p:sp>
        <p:nvSpPr>
          <p:cNvPr id="18" name="Rectangle 2"/>
          <p:cNvSpPr txBox="1">
            <a:spLocks noChangeArrowheads="1"/>
          </p:cNvSpPr>
          <p:nvPr/>
        </p:nvSpPr>
        <p:spPr bwMode="auto">
          <a:xfrm>
            <a:off x="415925" y="2133600"/>
            <a:ext cx="29527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0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: esprime valutazione</a:t>
            </a:r>
          </a:p>
        </p:txBody>
      </p:sp>
      <p:sp>
        <p:nvSpPr>
          <p:cNvPr id="50" name="Rectangle 2"/>
          <p:cNvSpPr txBox="1">
            <a:spLocks noChangeArrowheads="1"/>
          </p:cNvSpPr>
          <p:nvPr/>
        </p:nvSpPr>
        <p:spPr bwMode="auto">
          <a:xfrm>
            <a:off x="4306888" y="1843088"/>
            <a:ext cx="481012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4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it-IT" sz="1000" b="1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ttangolo 2"/>
          <p:cNvSpPr/>
          <p:nvPr/>
        </p:nvSpPr>
        <p:spPr bwMode="auto">
          <a:xfrm>
            <a:off x="382588" y="1695450"/>
            <a:ext cx="2016125" cy="29527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lIns="80962" tIns="39688" rIns="80962" bIns="39688">
            <a:spAutoFit/>
          </a:bodyPr>
          <a:lstStyle/>
          <a:p>
            <a:pPr algn="ctr">
              <a:defRPr/>
            </a:pPr>
            <a:r>
              <a:rPr lang="it-IT" sz="1400" dirty="0">
                <a:latin typeface="Arial" pitchFamily="34" charset="0"/>
              </a:rPr>
              <a:t>Non indica = 3,5%</a:t>
            </a:r>
          </a:p>
        </p:txBody>
      </p:sp>
      <p:graphicFrame>
        <p:nvGraphicFramePr>
          <p:cNvPr id="3074" name="Oggetto 3"/>
          <p:cNvGraphicFramePr>
            <a:graphicFrameLocks/>
          </p:cNvGraphicFramePr>
          <p:nvPr/>
        </p:nvGraphicFramePr>
        <p:xfrm>
          <a:off x="2125663" y="2235200"/>
          <a:ext cx="4686300" cy="3052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r:id="rId4" imgW="4688230" imgH="3048264" progId="Excel.Chart.8">
                  <p:embed/>
                </p:oleObj>
              </mc:Choice>
              <mc:Fallback>
                <p:oleObj r:id="rId4" imgW="4688230" imgH="3048264" progId="Excel.Chart.8">
                  <p:embed/>
                  <p:pic>
                    <p:nvPicPr>
                      <p:cNvPr id="0" name="Oggetto 3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5663" y="2235200"/>
                        <a:ext cx="4686300" cy="30527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2"/>
          <p:cNvSpPr txBox="1">
            <a:spLocks noChangeArrowheads="1"/>
          </p:cNvSpPr>
          <p:nvPr/>
        </p:nvSpPr>
        <p:spPr bwMode="auto">
          <a:xfrm>
            <a:off x="2297113" y="5021263"/>
            <a:ext cx="2759075" cy="385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e Soddisfazione = 82,7</a:t>
            </a:r>
          </a:p>
        </p:txBody>
      </p:sp>
      <p:pic>
        <p:nvPicPr>
          <p:cNvPr id="3083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5338" y="2860675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4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5338" y="3556000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5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3750" y="4302125"/>
            <a:ext cx="334963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Rectangle 2"/>
          <p:cNvSpPr txBox="1">
            <a:spLocks noChangeArrowheads="1"/>
          </p:cNvSpPr>
          <p:nvPr/>
        </p:nvSpPr>
        <p:spPr bwMode="auto">
          <a:xfrm>
            <a:off x="6232525" y="2800350"/>
            <a:ext cx="407988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1</a:t>
            </a:r>
          </a:p>
        </p:txBody>
      </p:sp>
      <p:sp>
        <p:nvSpPr>
          <p:cNvPr id="3087" name="Parentesi graffa chiusa 56"/>
          <p:cNvSpPr>
            <a:spLocks/>
          </p:cNvSpPr>
          <p:nvPr/>
        </p:nvSpPr>
        <p:spPr bwMode="auto">
          <a:xfrm>
            <a:off x="5703888" y="2800350"/>
            <a:ext cx="46037" cy="493713"/>
          </a:xfrm>
          <a:prstGeom prst="rightBrace">
            <a:avLst>
              <a:gd name="adj1" fmla="val 8291"/>
              <a:gd name="adj2" fmla="val 5000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it-IT" altLang="it-IT"/>
          </a:p>
        </p:txBody>
      </p:sp>
      <p:sp>
        <p:nvSpPr>
          <p:cNvPr id="3088" name="Parentesi graffa chiusa 57"/>
          <p:cNvSpPr>
            <a:spLocks/>
          </p:cNvSpPr>
          <p:nvPr/>
        </p:nvSpPr>
        <p:spPr bwMode="auto">
          <a:xfrm>
            <a:off x="5703888" y="3448050"/>
            <a:ext cx="46037" cy="493713"/>
          </a:xfrm>
          <a:prstGeom prst="rightBrace">
            <a:avLst>
              <a:gd name="adj1" fmla="val 8291"/>
              <a:gd name="adj2" fmla="val 5000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it-IT" altLang="it-IT"/>
          </a:p>
        </p:txBody>
      </p:sp>
      <p:sp>
        <p:nvSpPr>
          <p:cNvPr id="59" name="Rectangle 2"/>
          <p:cNvSpPr txBox="1">
            <a:spLocks noChangeArrowheads="1"/>
          </p:cNvSpPr>
          <p:nvPr/>
        </p:nvSpPr>
        <p:spPr bwMode="auto">
          <a:xfrm>
            <a:off x="6232525" y="3495675"/>
            <a:ext cx="407988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3090" name="Parentesi graffa chiusa 59"/>
          <p:cNvSpPr>
            <a:spLocks/>
          </p:cNvSpPr>
          <p:nvPr/>
        </p:nvSpPr>
        <p:spPr bwMode="auto">
          <a:xfrm>
            <a:off x="5703888" y="4157663"/>
            <a:ext cx="46037" cy="492125"/>
          </a:xfrm>
          <a:prstGeom prst="rightBrace">
            <a:avLst>
              <a:gd name="adj1" fmla="val 8265"/>
              <a:gd name="adj2" fmla="val 5000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it-IT" altLang="it-IT"/>
          </a:p>
        </p:txBody>
      </p:sp>
      <p:sp>
        <p:nvSpPr>
          <p:cNvPr id="61" name="Rectangle 2"/>
          <p:cNvSpPr txBox="1">
            <a:spLocks noChangeArrowheads="1"/>
          </p:cNvSpPr>
          <p:nvPr/>
        </p:nvSpPr>
        <p:spPr bwMode="auto">
          <a:xfrm>
            <a:off x="6232525" y="4241800"/>
            <a:ext cx="407988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ggetto 3"/>
          <p:cNvGraphicFramePr>
            <a:graphicFrameLocks/>
          </p:cNvGraphicFramePr>
          <p:nvPr/>
        </p:nvGraphicFramePr>
        <p:xfrm>
          <a:off x="2125663" y="2235200"/>
          <a:ext cx="4686300" cy="3052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r:id="rId4" imgW="4688230" imgH="3048264" progId="Excel.Chart.8">
                  <p:embed/>
                </p:oleObj>
              </mc:Choice>
              <mc:Fallback>
                <p:oleObj r:id="rId4" imgW="4688230" imgH="3048264" progId="Excel.Chart.8">
                  <p:embed/>
                  <p:pic>
                    <p:nvPicPr>
                      <p:cNvPr id="0" name="Oggetto 3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5663" y="2235200"/>
                        <a:ext cx="4686300" cy="30527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>
          <a:xfrm>
            <a:off x="287338" y="333375"/>
            <a:ext cx="9344025" cy="647700"/>
          </a:xfrm>
        </p:spPr>
        <p:txBody>
          <a:bodyPr/>
          <a:lstStyle/>
          <a:p>
            <a:r>
              <a:rPr lang="en-US" altLang="it-IT" sz="2400" smtClean="0"/>
              <a:t>SODDISFAZIONE ESIGENZE</a:t>
            </a:r>
          </a:p>
        </p:txBody>
      </p:sp>
      <p:sp>
        <p:nvSpPr>
          <p:cNvPr id="4100" name="CasellaDiTesto 1"/>
          <p:cNvSpPr txBox="1">
            <a:spLocks noChangeArrowheads="1"/>
          </p:cNvSpPr>
          <p:nvPr/>
        </p:nvSpPr>
        <p:spPr bwMode="auto">
          <a:xfrm>
            <a:off x="273050" y="6381750"/>
            <a:ext cx="374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200" b="1">
                <a:solidFill>
                  <a:srgbClr val="E3600F"/>
                </a:solidFill>
              </a:rPr>
              <a:t>Direzione Centrale Servizi ai Contribuenti </a:t>
            </a: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11EDC2F-FEE6-4D04-A775-4AB0C9E98CD8}" type="slidenum">
              <a:rPr lang="it-IT" smtClean="0"/>
              <a:pPr>
                <a:defRPr/>
              </a:pPr>
              <a:t>13</a:t>
            </a:fld>
            <a:endParaRPr lang="it-IT"/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166688" y="1052513"/>
            <a:ext cx="9217025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200" b="1" i="1" kern="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D: Quanto il servizio ha risposto alle sue </a:t>
            </a:r>
            <a:r>
              <a:rPr lang="it-IT" sz="1200" b="1" i="1" kern="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it-IT" sz="1200" b="1" i="1" kern="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esigenze?</a:t>
            </a:r>
          </a:p>
        </p:txBody>
      </p:sp>
      <p:pic>
        <p:nvPicPr>
          <p:cNvPr id="4103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2938" y="2708275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4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2938" y="3476625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5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6275" y="4221163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6080125" y="2647950"/>
            <a:ext cx="407988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8</a:t>
            </a:r>
          </a:p>
        </p:txBody>
      </p:sp>
      <p:sp>
        <p:nvSpPr>
          <p:cNvPr id="4107" name="Parentesi graffa chiusa 15"/>
          <p:cNvSpPr>
            <a:spLocks/>
          </p:cNvSpPr>
          <p:nvPr/>
        </p:nvSpPr>
        <p:spPr bwMode="auto">
          <a:xfrm>
            <a:off x="5551488" y="2647950"/>
            <a:ext cx="46037" cy="493713"/>
          </a:xfrm>
          <a:prstGeom prst="rightBrace">
            <a:avLst>
              <a:gd name="adj1" fmla="val 8291"/>
              <a:gd name="adj2" fmla="val 5000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it-IT" altLang="it-IT"/>
          </a:p>
        </p:txBody>
      </p:sp>
      <p:sp>
        <p:nvSpPr>
          <p:cNvPr id="4108" name="Parentesi graffa chiusa 18"/>
          <p:cNvSpPr>
            <a:spLocks/>
          </p:cNvSpPr>
          <p:nvPr/>
        </p:nvSpPr>
        <p:spPr bwMode="auto">
          <a:xfrm>
            <a:off x="5551488" y="3368675"/>
            <a:ext cx="46037" cy="492125"/>
          </a:xfrm>
          <a:prstGeom prst="rightBrace">
            <a:avLst>
              <a:gd name="adj1" fmla="val 8265"/>
              <a:gd name="adj2" fmla="val 5000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it-IT" altLang="it-IT"/>
          </a:p>
        </p:txBody>
      </p:sp>
      <p:sp>
        <p:nvSpPr>
          <p:cNvPr id="20" name="Rectangle 2"/>
          <p:cNvSpPr txBox="1">
            <a:spLocks noChangeArrowheads="1"/>
          </p:cNvSpPr>
          <p:nvPr/>
        </p:nvSpPr>
        <p:spPr bwMode="auto">
          <a:xfrm>
            <a:off x="6080125" y="3440113"/>
            <a:ext cx="407988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</a:p>
        </p:txBody>
      </p:sp>
      <p:sp>
        <p:nvSpPr>
          <p:cNvPr id="4110" name="Parentesi graffa chiusa 20"/>
          <p:cNvSpPr>
            <a:spLocks/>
          </p:cNvSpPr>
          <p:nvPr/>
        </p:nvSpPr>
        <p:spPr bwMode="auto">
          <a:xfrm>
            <a:off x="5551488" y="4076700"/>
            <a:ext cx="46037" cy="493713"/>
          </a:xfrm>
          <a:prstGeom prst="rightBrace">
            <a:avLst>
              <a:gd name="adj1" fmla="val 8291"/>
              <a:gd name="adj2" fmla="val 5000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it-IT" altLang="it-IT"/>
          </a:p>
        </p:txBody>
      </p:sp>
      <p:sp>
        <p:nvSpPr>
          <p:cNvPr id="22" name="Rectangle 2"/>
          <p:cNvSpPr txBox="1">
            <a:spLocks noChangeArrowheads="1"/>
          </p:cNvSpPr>
          <p:nvPr/>
        </p:nvSpPr>
        <p:spPr bwMode="auto">
          <a:xfrm>
            <a:off x="6115050" y="4160838"/>
            <a:ext cx="406400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400" b="1" i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it-IT" sz="1400" b="1" i="1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2"/>
          <p:cNvSpPr txBox="1">
            <a:spLocks noChangeArrowheads="1"/>
          </p:cNvSpPr>
          <p:nvPr/>
        </p:nvSpPr>
        <p:spPr bwMode="auto">
          <a:xfrm>
            <a:off x="4306888" y="1843088"/>
            <a:ext cx="481012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4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it-IT" sz="1000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2"/>
          <p:cNvSpPr txBox="1">
            <a:spLocks noChangeArrowheads="1"/>
          </p:cNvSpPr>
          <p:nvPr/>
        </p:nvSpPr>
        <p:spPr bwMode="auto">
          <a:xfrm>
            <a:off x="2144713" y="4868863"/>
            <a:ext cx="2759075" cy="385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e Soddisfazione = 80,9</a:t>
            </a:r>
          </a:p>
        </p:txBody>
      </p:sp>
      <p:sp>
        <p:nvSpPr>
          <p:cNvPr id="23" name="Rectangle 2"/>
          <p:cNvSpPr txBox="1">
            <a:spLocks noChangeArrowheads="1"/>
          </p:cNvSpPr>
          <p:nvPr/>
        </p:nvSpPr>
        <p:spPr bwMode="auto">
          <a:xfrm>
            <a:off x="415925" y="2133600"/>
            <a:ext cx="29527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0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: esprime valutazione</a:t>
            </a:r>
          </a:p>
        </p:txBody>
      </p:sp>
      <p:sp>
        <p:nvSpPr>
          <p:cNvPr id="24" name="Rettangolo 23"/>
          <p:cNvSpPr/>
          <p:nvPr/>
        </p:nvSpPr>
        <p:spPr bwMode="auto">
          <a:xfrm>
            <a:off x="382588" y="1695450"/>
            <a:ext cx="2016125" cy="29527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lIns="80962" tIns="39688" rIns="80962" bIns="39688">
            <a:spAutoFit/>
          </a:bodyPr>
          <a:lstStyle/>
          <a:p>
            <a:pPr algn="ctr">
              <a:defRPr/>
            </a:pPr>
            <a:r>
              <a:rPr lang="it-IT" sz="1400" dirty="0">
                <a:latin typeface="Arial" pitchFamily="34" charset="0"/>
              </a:rPr>
              <a:t>Non indica = 3,4%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title"/>
          </p:nvPr>
        </p:nvSpPr>
        <p:spPr>
          <a:xfrm>
            <a:off x="287338" y="333375"/>
            <a:ext cx="9344025" cy="647700"/>
          </a:xfrm>
        </p:spPr>
        <p:txBody>
          <a:bodyPr/>
          <a:lstStyle/>
          <a:p>
            <a:r>
              <a:rPr lang="en-US" altLang="it-IT" sz="2400" smtClean="0"/>
              <a:t>SODDISFAZIONE CIVIS VS ALTRE PA</a:t>
            </a:r>
          </a:p>
        </p:txBody>
      </p:sp>
      <p:sp>
        <p:nvSpPr>
          <p:cNvPr id="5124" name="CasellaDiTesto 1"/>
          <p:cNvSpPr txBox="1">
            <a:spLocks noChangeArrowheads="1"/>
          </p:cNvSpPr>
          <p:nvPr/>
        </p:nvSpPr>
        <p:spPr bwMode="auto">
          <a:xfrm>
            <a:off x="273050" y="6381750"/>
            <a:ext cx="374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200" b="1">
                <a:solidFill>
                  <a:srgbClr val="E3600F"/>
                </a:solidFill>
              </a:rPr>
              <a:t>Direzione Centrale Servizi ai Contribuenti </a:t>
            </a: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B477826-B4A6-44FF-AE52-7097BD903D0B}" type="slidenum">
              <a:rPr lang="it-IT" smtClean="0"/>
              <a:pPr>
                <a:defRPr/>
              </a:pPr>
              <a:t>14</a:t>
            </a:fld>
            <a:endParaRPr lang="it-IT"/>
          </a:p>
        </p:txBody>
      </p:sp>
      <p:graphicFrame>
        <p:nvGraphicFramePr>
          <p:cNvPr id="5122" name="Oggetto 3"/>
          <p:cNvGraphicFramePr>
            <a:graphicFrameLocks/>
          </p:cNvGraphicFramePr>
          <p:nvPr/>
        </p:nvGraphicFramePr>
        <p:xfrm>
          <a:off x="1949450" y="2082800"/>
          <a:ext cx="4687888" cy="3052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" r:id="rId4" imgW="4688230" imgH="3048264" progId="Excel.Chart.8">
                  <p:embed/>
                </p:oleObj>
              </mc:Choice>
              <mc:Fallback>
                <p:oleObj r:id="rId4" imgW="4688230" imgH="3048264" progId="Excel.Chart.8">
                  <p:embed/>
                  <p:pic>
                    <p:nvPicPr>
                      <p:cNvPr id="0" name="Oggetto 3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49450" y="2082800"/>
                        <a:ext cx="4687888" cy="30527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344488" y="877888"/>
            <a:ext cx="9217025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200" b="1" i="1" kern="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D: Quanto il </a:t>
            </a:r>
            <a:r>
              <a:rPr lang="it-IT" sz="1200" b="1" i="1" kern="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servizio di </a:t>
            </a:r>
            <a:r>
              <a:rPr lang="it-IT" sz="1200" b="1" i="1" kern="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assistenza CIVIS è in linea con i migliori servizi telematici che ha utilizzato nell’ambito della Pubblica Amministrazione?</a:t>
            </a:r>
          </a:p>
        </p:txBody>
      </p:sp>
      <p:pic>
        <p:nvPicPr>
          <p:cNvPr id="512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9488" y="3429000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8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9488" y="4051300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9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9488" y="4664075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6418263" y="3368675"/>
            <a:ext cx="406400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1</a:t>
            </a:r>
          </a:p>
        </p:txBody>
      </p:sp>
      <p:sp>
        <p:nvSpPr>
          <p:cNvPr id="5131" name="Parentesi graffa chiusa 15"/>
          <p:cNvSpPr>
            <a:spLocks/>
          </p:cNvSpPr>
          <p:nvPr/>
        </p:nvSpPr>
        <p:spPr bwMode="auto">
          <a:xfrm>
            <a:off x="5889625" y="3368675"/>
            <a:ext cx="44450" cy="492125"/>
          </a:xfrm>
          <a:prstGeom prst="rightBrace">
            <a:avLst>
              <a:gd name="adj1" fmla="val 8560"/>
              <a:gd name="adj2" fmla="val 5000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it-IT" altLang="it-IT"/>
          </a:p>
        </p:txBody>
      </p:sp>
      <p:sp>
        <p:nvSpPr>
          <p:cNvPr id="5132" name="Parentesi graffa chiusa 18"/>
          <p:cNvSpPr>
            <a:spLocks/>
          </p:cNvSpPr>
          <p:nvPr/>
        </p:nvSpPr>
        <p:spPr bwMode="auto">
          <a:xfrm>
            <a:off x="5889625" y="3943350"/>
            <a:ext cx="44450" cy="493713"/>
          </a:xfrm>
          <a:prstGeom prst="rightBrace">
            <a:avLst>
              <a:gd name="adj1" fmla="val 8587"/>
              <a:gd name="adj2" fmla="val 5000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it-IT" altLang="it-IT"/>
          </a:p>
        </p:txBody>
      </p:sp>
      <p:sp>
        <p:nvSpPr>
          <p:cNvPr id="20" name="Rectangle 2"/>
          <p:cNvSpPr txBox="1">
            <a:spLocks noChangeArrowheads="1"/>
          </p:cNvSpPr>
          <p:nvPr/>
        </p:nvSpPr>
        <p:spPr bwMode="auto">
          <a:xfrm>
            <a:off x="6418263" y="4016375"/>
            <a:ext cx="406400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5134" name="Parentesi graffa chiusa 20"/>
          <p:cNvSpPr>
            <a:spLocks/>
          </p:cNvSpPr>
          <p:nvPr/>
        </p:nvSpPr>
        <p:spPr bwMode="auto">
          <a:xfrm>
            <a:off x="5889625" y="4519613"/>
            <a:ext cx="44450" cy="493712"/>
          </a:xfrm>
          <a:prstGeom prst="rightBrace">
            <a:avLst>
              <a:gd name="adj1" fmla="val 8587"/>
              <a:gd name="adj2" fmla="val 5000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it-IT" altLang="it-IT"/>
          </a:p>
        </p:txBody>
      </p:sp>
      <p:sp>
        <p:nvSpPr>
          <p:cNvPr id="22" name="Rectangle 2"/>
          <p:cNvSpPr txBox="1">
            <a:spLocks noChangeArrowheads="1"/>
          </p:cNvSpPr>
          <p:nvPr/>
        </p:nvSpPr>
        <p:spPr bwMode="auto">
          <a:xfrm>
            <a:off x="6418263" y="4603750"/>
            <a:ext cx="406400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5136" name="Rettangolo 3"/>
          <p:cNvSpPr>
            <a:spLocks noChangeArrowheads="1"/>
          </p:cNvSpPr>
          <p:nvPr/>
        </p:nvSpPr>
        <p:spPr bwMode="auto">
          <a:xfrm>
            <a:off x="128588" y="2444750"/>
            <a:ext cx="381635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it-IT" altLang="it-IT" sz="1200"/>
              <a:t>Non risponde/ non ha usato altri servizi telematici PA</a:t>
            </a:r>
          </a:p>
        </p:txBody>
      </p:sp>
      <p:sp>
        <p:nvSpPr>
          <p:cNvPr id="5137" name="Rettangolo 24"/>
          <p:cNvSpPr>
            <a:spLocks noChangeArrowheads="1"/>
          </p:cNvSpPr>
          <p:nvPr/>
        </p:nvSpPr>
        <p:spPr bwMode="auto">
          <a:xfrm>
            <a:off x="2000250" y="2738438"/>
            <a:ext cx="1944688" cy="265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it-IT" altLang="it-IT" sz="1200"/>
              <a:t>Risponde</a:t>
            </a:r>
          </a:p>
        </p:txBody>
      </p:sp>
      <p:cxnSp>
        <p:nvCxnSpPr>
          <p:cNvPr id="5138" name="Connettore 2 9"/>
          <p:cNvCxnSpPr>
            <a:cxnSpLocks noChangeShapeType="1"/>
          </p:cNvCxnSpPr>
          <p:nvPr/>
        </p:nvCxnSpPr>
        <p:spPr bwMode="auto">
          <a:xfrm>
            <a:off x="4232275" y="3032125"/>
            <a:ext cx="0" cy="252413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139" name="Rettangolo 25"/>
          <p:cNvSpPr>
            <a:spLocks noChangeArrowheads="1"/>
          </p:cNvSpPr>
          <p:nvPr/>
        </p:nvSpPr>
        <p:spPr bwMode="auto">
          <a:xfrm>
            <a:off x="4160838" y="3008313"/>
            <a:ext cx="1944687" cy="265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it-IT" altLang="it-IT" sz="1200" i="1"/>
              <a:t>91=100%</a:t>
            </a:r>
          </a:p>
        </p:txBody>
      </p:sp>
      <p:sp>
        <p:nvSpPr>
          <p:cNvPr id="28" name="Rectangle 2"/>
          <p:cNvSpPr txBox="1">
            <a:spLocks noChangeArrowheads="1"/>
          </p:cNvSpPr>
          <p:nvPr/>
        </p:nvSpPr>
        <p:spPr bwMode="auto">
          <a:xfrm>
            <a:off x="344488" y="1812925"/>
            <a:ext cx="295275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0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: totale campione; esprime valutazione</a:t>
            </a:r>
          </a:p>
        </p:txBody>
      </p:sp>
      <p:sp>
        <p:nvSpPr>
          <p:cNvPr id="23" name="Rectangle 2"/>
          <p:cNvSpPr txBox="1">
            <a:spLocks noChangeArrowheads="1"/>
          </p:cNvSpPr>
          <p:nvPr/>
        </p:nvSpPr>
        <p:spPr bwMode="auto">
          <a:xfrm>
            <a:off x="4016375" y="1843088"/>
            <a:ext cx="4810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4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it-IT" sz="1000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"/>
          <p:cNvSpPr txBox="1">
            <a:spLocks noChangeArrowheads="1"/>
          </p:cNvSpPr>
          <p:nvPr/>
        </p:nvSpPr>
        <p:spPr bwMode="auto">
          <a:xfrm>
            <a:off x="2144713" y="5132388"/>
            <a:ext cx="2759075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e Soddisfazione = 83,9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3375"/>
            <a:ext cx="9344025" cy="647700"/>
          </a:xfrm>
        </p:spPr>
        <p:txBody>
          <a:bodyPr/>
          <a:lstStyle/>
          <a:p>
            <a:r>
              <a:rPr lang="en-US" altLang="it-IT" sz="2400" smtClean="0"/>
              <a:t>SERVIZIO DI ASSISTENZA UTILIZZATO</a:t>
            </a:r>
          </a:p>
        </p:txBody>
      </p:sp>
      <p:sp>
        <p:nvSpPr>
          <p:cNvPr id="6148" name="CasellaDiTesto 1"/>
          <p:cNvSpPr txBox="1">
            <a:spLocks noChangeArrowheads="1"/>
          </p:cNvSpPr>
          <p:nvPr/>
        </p:nvSpPr>
        <p:spPr bwMode="auto">
          <a:xfrm>
            <a:off x="273050" y="6381750"/>
            <a:ext cx="374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200" b="1">
                <a:solidFill>
                  <a:srgbClr val="E3600F"/>
                </a:solidFill>
              </a:rPr>
              <a:t>Direzione Centrale Servizi ai Contribuenti </a:t>
            </a: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FB4ECA4-42E1-4108-AD8C-B841883D5E52}" type="slidenum">
              <a:rPr lang="it-IT" smtClean="0"/>
              <a:pPr>
                <a:defRPr/>
              </a:pPr>
              <a:t>15</a:t>
            </a:fld>
            <a:endParaRPr lang="it-IT"/>
          </a:p>
        </p:txBody>
      </p:sp>
      <p:sp>
        <p:nvSpPr>
          <p:cNvPr id="35" name="Rectangle 2"/>
          <p:cNvSpPr txBox="1">
            <a:spLocks noChangeArrowheads="1"/>
          </p:cNvSpPr>
          <p:nvPr/>
        </p:nvSpPr>
        <p:spPr bwMode="auto">
          <a:xfrm>
            <a:off x="415925" y="965200"/>
            <a:ext cx="9217025" cy="592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buClr>
                <a:srgbClr val="FF9933"/>
              </a:buClr>
              <a:defRPr/>
            </a:pPr>
            <a:r>
              <a:rPr lang="it-IT" sz="1200" b="1" i="1" kern="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D: Quando </a:t>
            </a:r>
            <a:r>
              <a:rPr lang="it-IT" sz="1200" b="1" i="1" kern="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deve chiedere assistenza sulle comunicazioni di irregolarità o sulle cartelle di pagamento </a:t>
            </a:r>
            <a:r>
              <a:rPr lang="it-IT" sz="1200" b="1" i="1" kern="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generalmente ...?</a:t>
            </a:r>
            <a:endParaRPr lang="it-IT" sz="1200" b="1" i="1" kern="0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273050" y="2205038"/>
            <a:ext cx="2951163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0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: totale campione</a:t>
            </a:r>
          </a:p>
        </p:txBody>
      </p:sp>
      <p:graphicFrame>
        <p:nvGraphicFramePr>
          <p:cNvPr id="6146" name="Oggetto 3"/>
          <p:cNvGraphicFramePr>
            <a:graphicFrameLocks/>
          </p:cNvGraphicFramePr>
          <p:nvPr/>
        </p:nvGraphicFramePr>
        <p:xfrm>
          <a:off x="1878013" y="2284413"/>
          <a:ext cx="4687887" cy="3498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r:id="rId4" imgW="4688230" imgH="3499407" progId="Excel.Chart.8">
                  <p:embed/>
                </p:oleObj>
              </mc:Choice>
              <mc:Fallback>
                <p:oleObj r:id="rId4" imgW="4688230" imgH="3499407" progId="Excel.Chart.8">
                  <p:embed/>
                  <p:pic>
                    <p:nvPicPr>
                      <p:cNvPr id="0" name="Oggetto 3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8013" y="2284413"/>
                        <a:ext cx="4687887" cy="34988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52" name="Rettangolo 10"/>
          <p:cNvSpPr>
            <a:spLocks noChangeArrowheads="1"/>
          </p:cNvSpPr>
          <p:nvPr/>
        </p:nvSpPr>
        <p:spPr bwMode="auto">
          <a:xfrm>
            <a:off x="992188" y="4365625"/>
            <a:ext cx="288131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it-IT" altLang="it-IT" sz="1400" b="1"/>
              <a:t>Telefona al call center</a:t>
            </a:r>
          </a:p>
        </p:txBody>
      </p:sp>
      <p:sp>
        <p:nvSpPr>
          <p:cNvPr id="6153" name="Rettangolo 11"/>
          <p:cNvSpPr>
            <a:spLocks noChangeArrowheads="1"/>
          </p:cNvSpPr>
          <p:nvPr/>
        </p:nvSpPr>
        <p:spPr bwMode="auto">
          <a:xfrm>
            <a:off x="992188" y="2852738"/>
            <a:ext cx="288131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it-IT" altLang="it-IT" sz="1400" b="1"/>
              <a:t>Utilizza CIVIS</a:t>
            </a:r>
          </a:p>
        </p:txBody>
      </p:sp>
      <p:sp>
        <p:nvSpPr>
          <p:cNvPr id="6154" name="Rettangolo 12"/>
          <p:cNvSpPr>
            <a:spLocks noChangeArrowheads="1"/>
          </p:cNvSpPr>
          <p:nvPr/>
        </p:nvSpPr>
        <p:spPr bwMode="auto">
          <a:xfrm>
            <a:off x="992188" y="3625850"/>
            <a:ext cx="288131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it-IT" altLang="it-IT" sz="1400" b="1"/>
              <a:t>Si reca presso l’ufficio</a:t>
            </a:r>
          </a:p>
        </p:txBody>
      </p:sp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4165600" y="2205038"/>
            <a:ext cx="4810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4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it-IT" sz="1000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56" name="Rettangolo 15"/>
          <p:cNvSpPr>
            <a:spLocks noChangeArrowheads="1"/>
          </p:cNvSpPr>
          <p:nvPr/>
        </p:nvSpPr>
        <p:spPr bwMode="auto">
          <a:xfrm>
            <a:off x="992188" y="5078413"/>
            <a:ext cx="2881312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it-IT" altLang="it-IT" sz="1400" b="1"/>
              <a:t>Utilizza la PEC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>
          <a:xfrm>
            <a:off x="0" y="333375"/>
            <a:ext cx="9906000" cy="647700"/>
          </a:xfrm>
        </p:spPr>
        <p:txBody>
          <a:bodyPr/>
          <a:lstStyle/>
          <a:p>
            <a:r>
              <a:rPr lang="en-US" altLang="it-IT" sz="2000" smtClean="0"/>
              <a:t>CAPACITÀ MIGLIORARE RAPPORTI CON L’AMMINISTRAZIONE</a:t>
            </a:r>
          </a:p>
        </p:txBody>
      </p:sp>
      <p:sp>
        <p:nvSpPr>
          <p:cNvPr id="7172" name="CasellaDiTesto 1"/>
          <p:cNvSpPr txBox="1">
            <a:spLocks noChangeArrowheads="1"/>
          </p:cNvSpPr>
          <p:nvPr/>
        </p:nvSpPr>
        <p:spPr bwMode="auto">
          <a:xfrm>
            <a:off x="273050" y="6381750"/>
            <a:ext cx="374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200" b="1">
                <a:solidFill>
                  <a:srgbClr val="E3600F"/>
                </a:solidFill>
              </a:rPr>
              <a:t>Direzione Centrale Servizi ai Contribuenti </a:t>
            </a: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CA4A226-96EA-4136-82B8-07C98CD5E184}" type="slidenum">
              <a:rPr lang="it-IT" smtClean="0"/>
              <a:pPr>
                <a:defRPr/>
              </a:pPr>
              <a:t>16</a:t>
            </a:fld>
            <a:endParaRPr lang="it-IT"/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415925" y="1125538"/>
            <a:ext cx="92170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200" b="1" i="1" kern="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Capacità </a:t>
            </a:r>
            <a:r>
              <a:rPr lang="it-IT" sz="1200" b="1" i="1" kern="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del servizio di migliorare i rapporti amministrazione/utente</a:t>
            </a:r>
            <a:endParaRPr lang="it-IT" sz="1200" b="1" i="1" kern="0" dirty="0" smtClean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7170" name="Oggetto 3"/>
          <p:cNvGraphicFramePr>
            <a:graphicFrameLocks/>
          </p:cNvGraphicFramePr>
          <p:nvPr/>
        </p:nvGraphicFramePr>
        <p:xfrm>
          <a:off x="2125663" y="2235200"/>
          <a:ext cx="4686300" cy="3052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2" r:id="rId4" imgW="4688230" imgH="3048264" progId="Excel.Chart.8">
                  <p:embed/>
                </p:oleObj>
              </mc:Choice>
              <mc:Fallback>
                <p:oleObj r:id="rId4" imgW="4688230" imgH="3048264" progId="Excel.Chart.8">
                  <p:embed/>
                  <p:pic>
                    <p:nvPicPr>
                      <p:cNvPr id="0" name="Oggetto 3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5663" y="2235200"/>
                        <a:ext cx="4686300" cy="30527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75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1288" y="2708275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6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1288" y="3476625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7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625" y="4221163"/>
            <a:ext cx="334963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Rectangle 2"/>
          <p:cNvSpPr txBox="1">
            <a:spLocks noChangeArrowheads="1"/>
          </p:cNvSpPr>
          <p:nvPr/>
        </p:nvSpPr>
        <p:spPr bwMode="auto">
          <a:xfrm>
            <a:off x="6850063" y="2647950"/>
            <a:ext cx="406400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</a:t>
            </a:r>
          </a:p>
        </p:txBody>
      </p:sp>
      <p:sp>
        <p:nvSpPr>
          <p:cNvPr id="7179" name="Parentesi graffa chiusa 33"/>
          <p:cNvSpPr>
            <a:spLocks/>
          </p:cNvSpPr>
          <p:nvPr/>
        </p:nvSpPr>
        <p:spPr bwMode="auto">
          <a:xfrm>
            <a:off x="6321425" y="2647950"/>
            <a:ext cx="46038" cy="493713"/>
          </a:xfrm>
          <a:prstGeom prst="rightBrace">
            <a:avLst>
              <a:gd name="adj1" fmla="val 8291"/>
              <a:gd name="adj2" fmla="val 5000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it-IT" altLang="it-IT"/>
          </a:p>
        </p:txBody>
      </p:sp>
      <p:sp>
        <p:nvSpPr>
          <p:cNvPr id="7180" name="Parentesi graffa chiusa 34"/>
          <p:cNvSpPr>
            <a:spLocks/>
          </p:cNvSpPr>
          <p:nvPr/>
        </p:nvSpPr>
        <p:spPr bwMode="auto">
          <a:xfrm>
            <a:off x="6321425" y="3368675"/>
            <a:ext cx="46038" cy="492125"/>
          </a:xfrm>
          <a:prstGeom prst="rightBrace">
            <a:avLst>
              <a:gd name="adj1" fmla="val 8265"/>
              <a:gd name="adj2" fmla="val 5000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it-IT" altLang="it-IT"/>
          </a:p>
        </p:txBody>
      </p:sp>
      <p:sp>
        <p:nvSpPr>
          <p:cNvPr id="36" name="Rectangle 2"/>
          <p:cNvSpPr txBox="1">
            <a:spLocks noChangeArrowheads="1"/>
          </p:cNvSpPr>
          <p:nvPr/>
        </p:nvSpPr>
        <p:spPr bwMode="auto">
          <a:xfrm>
            <a:off x="6850063" y="3440113"/>
            <a:ext cx="406400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7182" name="Parentesi graffa chiusa 36"/>
          <p:cNvSpPr>
            <a:spLocks/>
          </p:cNvSpPr>
          <p:nvPr/>
        </p:nvSpPr>
        <p:spPr bwMode="auto">
          <a:xfrm>
            <a:off x="6321425" y="4076700"/>
            <a:ext cx="46038" cy="493713"/>
          </a:xfrm>
          <a:prstGeom prst="rightBrace">
            <a:avLst>
              <a:gd name="adj1" fmla="val 8291"/>
              <a:gd name="adj2" fmla="val 5000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it-IT" altLang="it-IT"/>
          </a:p>
        </p:txBody>
      </p:sp>
      <p:sp>
        <p:nvSpPr>
          <p:cNvPr id="38" name="Rectangle 2"/>
          <p:cNvSpPr txBox="1">
            <a:spLocks noChangeArrowheads="1"/>
          </p:cNvSpPr>
          <p:nvPr/>
        </p:nvSpPr>
        <p:spPr bwMode="auto">
          <a:xfrm>
            <a:off x="6883400" y="4160838"/>
            <a:ext cx="407988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400" b="1" i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it-IT" sz="1400" b="1" i="1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2"/>
          <p:cNvSpPr txBox="1">
            <a:spLocks noChangeArrowheads="1"/>
          </p:cNvSpPr>
          <p:nvPr/>
        </p:nvSpPr>
        <p:spPr bwMode="auto">
          <a:xfrm>
            <a:off x="4306888" y="1843088"/>
            <a:ext cx="481012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4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it-IT" sz="1000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2"/>
          <p:cNvSpPr txBox="1">
            <a:spLocks noChangeArrowheads="1"/>
          </p:cNvSpPr>
          <p:nvPr/>
        </p:nvSpPr>
        <p:spPr bwMode="auto">
          <a:xfrm>
            <a:off x="2144713" y="4868863"/>
            <a:ext cx="2759075" cy="385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400" b="1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e Soddisfazione = 82,6</a:t>
            </a:r>
          </a:p>
        </p:txBody>
      </p:sp>
      <p:sp>
        <p:nvSpPr>
          <p:cNvPr id="21" name="Rectangle 2"/>
          <p:cNvSpPr txBox="1">
            <a:spLocks noChangeArrowheads="1"/>
          </p:cNvSpPr>
          <p:nvPr/>
        </p:nvSpPr>
        <p:spPr bwMode="auto">
          <a:xfrm>
            <a:off x="415925" y="2133600"/>
            <a:ext cx="29527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0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: esprime valutazione</a:t>
            </a:r>
          </a:p>
        </p:txBody>
      </p:sp>
      <p:sp>
        <p:nvSpPr>
          <p:cNvPr id="22" name="Rettangolo 21"/>
          <p:cNvSpPr/>
          <p:nvPr/>
        </p:nvSpPr>
        <p:spPr bwMode="auto">
          <a:xfrm>
            <a:off x="382588" y="1695450"/>
            <a:ext cx="2016125" cy="29527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lIns="80962" tIns="39688" rIns="80962" bIns="39688">
            <a:spAutoFit/>
          </a:bodyPr>
          <a:lstStyle/>
          <a:p>
            <a:pPr algn="ctr">
              <a:defRPr/>
            </a:pPr>
            <a:r>
              <a:rPr lang="it-IT" sz="1400" dirty="0">
                <a:latin typeface="Arial" pitchFamily="34" charset="0"/>
              </a:rPr>
              <a:t>Non indica = 6,8%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A2E75B7-F002-4276-856E-06170CD54DA8}" type="slidenum">
              <a:rPr lang="it-IT" smtClean="0"/>
              <a:pPr>
                <a:defRPr/>
              </a:pPr>
              <a:t>17</a:t>
            </a:fld>
            <a:endParaRPr lang="it-IT"/>
          </a:p>
        </p:txBody>
      </p:sp>
      <p:sp>
        <p:nvSpPr>
          <p:cNvPr id="8196" name="Rectangle 3"/>
          <p:cNvSpPr>
            <a:spLocks noGrp="1" noChangeArrowheads="1"/>
          </p:cNvSpPr>
          <p:nvPr>
            <p:ph type="title"/>
          </p:nvPr>
        </p:nvSpPr>
        <p:spPr>
          <a:xfrm>
            <a:off x="336550" y="188913"/>
            <a:ext cx="9344025" cy="647700"/>
          </a:xfrm>
        </p:spPr>
        <p:txBody>
          <a:bodyPr/>
          <a:lstStyle/>
          <a:p>
            <a:r>
              <a:rPr lang="en-US" altLang="it-IT" sz="2400" smtClean="0"/>
              <a:t>LE CARATTERISTICHE DEL SERVIZIO UTILIZZATO 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200025" y="877888"/>
            <a:ext cx="9577388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buClr>
                <a:srgbClr val="FF9933"/>
              </a:buClr>
              <a:defRPr/>
            </a:pPr>
            <a:r>
              <a:rPr lang="it-IT" sz="1200" b="1" i="1" kern="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D: Pensando </a:t>
            </a:r>
            <a:r>
              <a:rPr lang="it-IT" sz="1200" b="1" i="1" kern="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al canale che utilizza più frequentemente per questo tipo di assistenza, indichi l’affermazione che meglio rappresenta la sua valutazione del servizio </a:t>
            </a:r>
            <a:r>
              <a:rPr lang="it-IT" sz="1200" b="1" i="1" kern="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ottenuto. </a:t>
            </a:r>
            <a:endParaRPr lang="it-IT" sz="1200" b="1" i="1" kern="0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8194" name="Oggetto 3"/>
          <p:cNvGraphicFramePr>
            <a:graphicFrameLocks/>
          </p:cNvGraphicFramePr>
          <p:nvPr/>
        </p:nvGraphicFramePr>
        <p:xfrm>
          <a:off x="115888" y="1879600"/>
          <a:ext cx="4686300" cy="4137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2" r:id="rId3" imgW="4688230" imgH="4139543" progId="Excel.Chart.8">
                  <p:embed/>
                </p:oleObj>
              </mc:Choice>
              <mc:Fallback>
                <p:oleObj r:id="rId3" imgW="4688230" imgH="4139543" progId="Excel.Chart.8">
                  <p:embed/>
                  <p:pic>
                    <p:nvPicPr>
                      <p:cNvPr id="0" name="Oggetto 3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5888" y="1879600"/>
                        <a:ext cx="4686300" cy="4137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336550" y="1800225"/>
            <a:ext cx="2951163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just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0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: totale campione</a:t>
            </a:r>
          </a:p>
        </p:txBody>
      </p:sp>
      <p:graphicFrame>
        <p:nvGraphicFramePr>
          <p:cNvPr id="12" name="Tabella 11"/>
          <p:cNvGraphicFramePr>
            <a:graphicFrameLocks noGrp="1"/>
          </p:cNvGraphicFramePr>
          <p:nvPr/>
        </p:nvGraphicFramePr>
        <p:xfrm>
          <a:off x="69850" y="2292350"/>
          <a:ext cx="1930400" cy="34416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30400"/>
              </a:tblGrid>
              <a:tr h="264746">
                <a:tc>
                  <a:txBody>
                    <a:bodyPr/>
                    <a:lstStyle/>
                    <a:p>
                      <a:pPr algn="r" fontAlgn="b"/>
                      <a:r>
                        <a:rPr lang="it-I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odo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3" marR="9523" marT="9525" marB="0" anchor="b"/>
                </a:tc>
              </a:tr>
              <a:tr h="264746">
                <a:tc>
                  <a:txBody>
                    <a:bodyPr/>
                    <a:lstStyle/>
                    <a:p>
                      <a:pPr algn="r" fontAlgn="b"/>
                      <a:r>
                        <a:rPr lang="it-I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onomico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3" marR="9523" marT="9525" marB="0" anchor="b"/>
                </a:tc>
              </a:tr>
              <a:tr h="264746">
                <a:tc>
                  <a:txBody>
                    <a:bodyPr/>
                    <a:lstStyle/>
                    <a:p>
                      <a:pPr algn="r" fontAlgn="b"/>
                      <a:r>
                        <a:rPr lang="it-I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essibile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3" marR="9523" marT="9525" marB="0" anchor="b"/>
                </a:tc>
              </a:tr>
              <a:tr h="264746">
                <a:tc>
                  <a:txBody>
                    <a:bodyPr/>
                    <a:lstStyle/>
                    <a:p>
                      <a:pPr algn="r" fontAlgn="b"/>
                      <a:r>
                        <a:rPr lang="it-I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loce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3" marR="9523" marT="9525" marB="0" anchor="b"/>
                </a:tc>
              </a:tr>
              <a:tr h="264746">
                <a:tc>
                  <a:txBody>
                    <a:bodyPr/>
                    <a:lstStyle/>
                    <a:p>
                      <a:pPr algn="r" fontAlgn="b"/>
                      <a:r>
                        <a:rPr lang="it-I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mplice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3" marR="9523" marT="9525" marB="0" anchor="b"/>
                </a:tc>
              </a:tr>
              <a:tr h="264746">
                <a:tc>
                  <a:txBody>
                    <a:bodyPr/>
                    <a:lstStyle/>
                    <a:p>
                      <a:pPr algn="r" fontAlgn="b"/>
                      <a:r>
                        <a:rPr lang="it-I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rno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3" marR="9523" marT="9525" marB="0" anchor="b"/>
                </a:tc>
              </a:tr>
              <a:tr h="264746">
                <a:tc>
                  <a:txBody>
                    <a:bodyPr/>
                    <a:lstStyle/>
                    <a:p>
                      <a:pPr algn="r" fontAlgn="b"/>
                      <a:r>
                        <a:rPr lang="it-I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fidabile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3" marR="9523" marT="9525" marB="0" anchor="b"/>
                </a:tc>
              </a:tr>
              <a:tr h="264746">
                <a:tc>
                  <a:txBody>
                    <a:bodyPr/>
                    <a:lstStyle/>
                    <a:p>
                      <a:pPr algn="r" fontAlgn="b"/>
                      <a:r>
                        <a:rPr lang="it-I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fficiente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3" marR="9523" marT="9525" marB="0" anchor="b"/>
                </a:tc>
              </a:tr>
              <a:tr h="264746">
                <a:tc>
                  <a:txBody>
                    <a:bodyPr/>
                    <a:lstStyle/>
                    <a:p>
                      <a:pPr algn="r" fontAlgn="b"/>
                      <a:r>
                        <a:rPr lang="it-I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sparente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3" marR="9523" marT="9525" marB="0" anchor="b"/>
                </a:tc>
              </a:tr>
              <a:tr h="264746">
                <a:tc>
                  <a:txBody>
                    <a:bodyPr/>
                    <a:lstStyle/>
                    <a:p>
                      <a:pPr algn="r" fontAlgn="b"/>
                      <a:r>
                        <a:rPr lang="it-I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arziale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3" marR="9523" marT="9525" marB="0" anchor="b"/>
                </a:tc>
              </a:tr>
              <a:tr h="264746">
                <a:tc>
                  <a:txBody>
                    <a:bodyPr/>
                    <a:lstStyle/>
                    <a:p>
                      <a:pPr algn="r" fontAlgn="b"/>
                      <a:r>
                        <a:rPr lang="it-I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urato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3" marR="9523" marT="9525" marB="0" anchor="b"/>
                </a:tc>
              </a:tr>
              <a:tr h="264746">
                <a:tc>
                  <a:txBody>
                    <a:bodyPr/>
                    <a:lstStyle/>
                    <a:p>
                      <a:pPr algn="r" fontAlgn="b"/>
                      <a:r>
                        <a:rPr lang="it-I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ientato </a:t>
                      </a:r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 cliente</a:t>
                      </a:r>
                    </a:p>
                  </a:txBody>
                  <a:tcPr marL="9523" marR="9523" marT="9525" marB="0" anchor="b"/>
                </a:tc>
              </a:tr>
              <a:tr h="264746">
                <a:tc>
                  <a:txBody>
                    <a:bodyPr/>
                    <a:lstStyle/>
                    <a:p>
                      <a:pPr algn="r" fontAlgn="b"/>
                      <a:r>
                        <a:rPr lang="it-I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olutivo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3" marR="9523" marT="9525" marB="0" anchor="b"/>
                </a:tc>
              </a:tr>
            </a:tbl>
          </a:graphicData>
        </a:graphic>
      </p:graphicFrame>
      <p:sp>
        <p:nvSpPr>
          <p:cNvPr id="13" name="Rectangle 2"/>
          <p:cNvSpPr txBox="1">
            <a:spLocks noChangeArrowheads="1"/>
          </p:cNvSpPr>
          <p:nvPr/>
        </p:nvSpPr>
        <p:spPr bwMode="auto">
          <a:xfrm>
            <a:off x="2289175" y="1814513"/>
            <a:ext cx="172720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E SERVIZI</a:t>
            </a:r>
          </a:p>
        </p:txBody>
      </p:sp>
      <p:graphicFrame>
        <p:nvGraphicFramePr>
          <p:cNvPr id="14" name="Tabella 13"/>
          <p:cNvGraphicFramePr>
            <a:graphicFrameLocks noGrp="1"/>
          </p:cNvGraphicFramePr>
          <p:nvPr/>
        </p:nvGraphicFramePr>
        <p:xfrm>
          <a:off x="5024438" y="2062163"/>
          <a:ext cx="4608513" cy="3773486"/>
        </p:xfrm>
        <a:graphic>
          <a:graphicData uri="http://schemas.openxmlformats.org/drawingml/2006/table">
            <a:tbl>
              <a:tblPr firstRow="1" bandRow="1">
                <a:tableStyleId>{74C1A8A3-306A-4EB7-A6B1-4F7E0EB9C5D6}</a:tableStyleId>
              </a:tblPr>
              <a:tblGrid>
                <a:gridCol w="1536171"/>
                <a:gridCol w="1536171"/>
                <a:gridCol w="1536171"/>
              </a:tblGrid>
              <a:tr h="296948">
                <a:tc>
                  <a:txBody>
                    <a:bodyPr/>
                    <a:lstStyle/>
                    <a:p>
                      <a:pPr algn="ctr"/>
                      <a:r>
                        <a:rPr lang="it-IT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VIS</a:t>
                      </a:r>
                      <a:endParaRPr lang="it-IT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45714" marB="45714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FFICIO</a:t>
                      </a:r>
                      <a:endParaRPr lang="it-IT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45714" marB="45714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L CENTER</a:t>
                      </a:r>
                    </a:p>
                  </a:txBody>
                  <a:tcPr marL="36000" marR="36000" marT="45714" marB="45714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7426"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1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7426"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7426"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7426"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7426"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9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7426"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7426"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3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7426"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3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7426"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2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7426"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2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7426"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7426"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67426"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</a:tbl>
          </a:graphicData>
        </a:graphic>
      </p:graphicFrame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5246688" y="1649413"/>
            <a:ext cx="403225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ISI PER TIPO DI SERVIZIO*</a:t>
            </a:r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 bwMode="auto">
          <a:xfrm>
            <a:off x="5240338" y="5775325"/>
            <a:ext cx="4392612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algn="ctr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200" i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Il servizio PEC non ha basi sufficienti per analisi statistica</a:t>
            </a:r>
          </a:p>
        </p:txBody>
      </p:sp>
      <p:sp>
        <p:nvSpPr>
          <p:cNvPr id="8266" name="Ovale 16"/>
          <p:cNvSpPr>
            <a:spLocks noChangeArrowheads="1"/>
          </p:cNvSpPr>
          <p:nvPr/>
        </p:nvSpPr>
        <p:spPr bwMode="auto">
          <a:xfrm>
            <a:off x="5557838" y="2317750"/>
            <a:ext cx="465137" cy="3602038"/>
          </a:xfrm>
          <a:prstGeom prst="ellipse">
            <a:avLst/>
          </a:prstGeom>
          <a:noFill/>
          <a:ln w="25400" algn="ctr">
            <a:solidFill>
              <a:srgbClr val="00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80962" tIns="39688" rIns="80962" bIns="39688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it-IT" altLang="it-IT"/>
          </a:p>
        </p:txBody>
      </p:sp>
      <p:sp>
        <p:nvSpPr>
          <p:cNvPr id="8267" name="Rettangolo 19"/>
          <p:cNvSpPr>
            <a:spLocks noChangeArrowheads="1"/>
          </p:cNvSpPr>
          <p:nvPr/>
        </p:nvSpPr>
        <p:spPr bwMode="auto">
          <a:xfrm>
            <a:off x="344488" y="1314450"/>
            <a:ext cx="8569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b="1">
                <a:solidFill>
                  <a:srgbClr val="0F407B"/>
                </a:solidFill>
              </a:rPr>
              <a:t>Ritengo che il servizio offerto sia… </a:t>
            </a:r>
            <a:r>
              <a:rPr lang="it-IT" altLang="it-IT" sz="1400">
                <a:solidFill>
                  <a:srgbClr val="0F407B"/>
                </a:solidFill>
              </a:rPr>
              <a:t>(scala 1-5;  1 per niente, 5 molto) –  </a:t>
            </a:r>
            <a:r>
              <a:rPr lang="it-IT" altLang="it-IT" sz="1400" b="1">
                <a:solidFill>
                  <a:srgbClr val="0F407B"/>
                </a:solidFill>
              </a:rPr>
              <a:t>% punteggi 4-5</a:t>
            </a:r>
            <a:endParaRPr lang="it-IT" altLang="it-IT" sz="1400">
              <a:solidFill>
                <a:srgbClr val="0F407B"/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3"/>
          <p:cNvSpPr>
            <a:spLocks noGrp="1" noChangeArrowheads="1"/>
          </p:cNvSpPr>
          <p:nvPr>
            <p:ph type="title"/>
          </p:nvPr>
        </p:nvSpPr>
        <p:spPr>
          <a:xfrm>
            <a:off x="65088" y="260350"/>
            <a:ext cx="9777412" cy="647700"/>
          </a:xfrm>
        </p:spPr>
        <p:txBody>
          <a:bodyPr/>
          <a:lstStyle/>
          <a:p>
            <a:r>
              <a:rPr lang="en-US" altLang="it-IT" sz="2000" smtClean="0"/>
              <a:t>IMPORTANZA DEL DRIVER – CONTRIBUTO ALLA SODDISFAZIONE</a:t>
            </a:r>
          </a:p>
        </p:txBody>
      </p:sp>
      <p:sp>
        <p:nvSpPr>
          <p:cNvPr id="9220" name="CasellaDiTesto 1"/>
          <p:cNvSpPr txBox="1">
            <a:spLocks noChangeArrowheads="1"/>
          </p:cNvSpPr>
          <p:nvPr/>
        </p:nvSpPr>
        <p:spPr bwMode="auto">
          <a:xfrm>
            <a:off x="273050" y="6381750"/>
            <a:ext cx="374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200" b="1">
                <a:solidFill>
                  <a:srgbClr val="E3600F"/>
                </a:solidFill>
              </a:rPr>
              <a:t>Direzione Centrale Servizi ai Contribuenti </a:t>
            </a: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D8D0059-2EF2-4C66-901B-A5BCF2027520}" type="slidenum">
              <a:rPr lang="it-IT" smtClean="0"/>
              <a:pPr>
                <a:defRPr/>
              </a:pPr>
              <a:t>18</a:t>
            </a:fld>
            <a:endParaRPr lang="it-IT"/>
          </a:p>
        </p:txBody>
      </p:sp>
      <p:graphicFrame>
        <p:nvGraphicFramePr>
          <p:cNvPr id="6" name="Tabella 5"/>
          <p:cNvGraphicFramePr>
            <a:graphicFrameLocks noGrp="1"/>
          </p:cNvGraphicFramePr>
          <p:nvPr/>
        </p:nvGraphicFramePr>
        <p:xfrm>
          <a:off x="273050" y="1471613"/>
          <a:ext cx="4608513" cy="268446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608513"/>
              </a:tblGrid>
              <a:tr h="298274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arezza e completezza dell’esito del servizio</a:t>
                      </a:r>
                    </a:p>
                  </a:txBody>
                  <a:tcPr marL="9525" marR="9525" marT="9524" marB="0" anchor="b"/>
                </a:tc>
              </a:tr>
              <a:tr h="298274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arezza/completezza </a:t>
                      </a:r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lle informazioni sul servizio</a:t>
                      </a:r>
                    </a:p>
                  </a:txBody>
                  <a:tcPr marL="9525" marR="9525" marT="9524" marB="0" anchor="b"/>
                </a:tc>
              </a:tr>
              <a:tr h="298274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eguatezza dei tempi di risposta 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b"/>
                </a:tc>
              </a:tr>
              <a:tr h="298274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arezza/completezza informazioni da fornire per avere assistenza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b"/>
                </a:tc>
              </a:tr>
              <a:tr h="298274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inuità di funzionamento del servizio</a:t>
                      </a:r>
                    </a:p>
                  </a:txBody>
                  <a:tcPr marL="9525" marR="9525" marT="9524" marB="0" anchor="b"/>
                </a:tc>
              </a:tr>
              <a:tr h="298274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ilità di accesso al servizio</a:t>
                      </a:r>
                    </a:p>
                  </a:txBody>
                  <a:tcPr marL="9525" marR="9525" marT="9524" marB="0" anchor="b"/>
                </a:tc>
              </a:tr>
              <a:tr h="298274">
                <a:tc>
                  <a:txBody>
                    <a:bodyPr/>
                    <a:lstStyle/>
                    <a:p>
                      <a:pPr algn="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pidità di risposta alla richiesta di assistenza</a:t>
                      </a:r>
                    </a:p>
                  </a:txBody>
                  <a:tcPr marL="9525" marR="9525" marT="9524" marB="0" anchor="b"/>
                </a:tc>
              </a:tr>
              <a:tr h="298274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letezza delle informazioni sullo stato della pratica</a:t>
                      </a:r>
                    </a:p>
                  </a:txBody>
                  <a:tcPr marL="9525" marR="9525" marT="9524" marB="0" anchor="b"/>
                </a:tc>
              </a:tr>
              <a:tr h="298274">
                <a:tc>
                  <a:txBody>
                    <a:bodyPr/>
                    <a:lstStyle/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fficacia degli strumenti di assistenza (call center, …)</a:t>
                      </a:r>
                    </a:p>
                  </a:txBody>
                  <a:tcPr marL="9525" marR="9525" marT="9524" marB="0" anchor="b"/>
                </a:tc>
              </a:tr>
            </a:tbl>
          </a:graphicData>
        </a:graphic>
      </p:graphicFrame>
      <p:graphicFrame>
        <p:nvGraphicFramePr>
          <p:cNvPr id="9218" name="Grafico 6"/>
          <p:cNvGraphicFramePr>
            <a:graphicFrameLocks/>
          </p:cNvGraphicFramePr>
          <p:nvPr/>
        </p:nvGraphicFramePr>
        <p:xfrm>
          <a:off x="4757738" y="908050"/>
          <a:ext cx="5091112" cy="5443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9" r:id="rId4" imgW="4999153" imgH="5444200" progId="Excel.Chart.8">
                  <p:embed/>
                </p:oleObj>
              </mc:Choice>
              <mc:Fallback>
                <p:oleObj r:id="rId4" imgW="4999153" imgH="5444200" progId="Excel.Chart.8">
                  <p:embed/>
                  <p:pic>
                    <p:nvPicPr>
                      <p:cNvPr id="0" name="Grafico 6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57738" y="908050"/>
                        <a:ext cx="5091112" cy="54435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ttangolo 17"/>
          <p:cNvSpPr/>
          <p:nvPr/>
        </p:nvSpPr>
        <p:spPr bwMode="auto">
          <a:xfrm>
            <a:off x="5314950" y="981075"/>
            <a:ext cx="1582738" cy="2952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80962" tIns="39688" rIns="80962" bIns="39688">
            <a:spAutoFit/>
          </a:bodyPr>
          <a:lstStyle/>
          <a:p>
            <a:pPr>
              <a:defRPr/>
            </a:pPr>
            <a:r>
              <a:rPr lang="it-IT" sz="1400" b="1" dirty="0">
                <a:solidFill>
                  <a:srgbClr val="0F407B"/>
                </a:solidFill>
                <a:latin typeface="+mj-lt"/>
              </a:rPr>
              <a:t>importanza</a:t>
            </a:r>
          </a:p>
        </p:txBody>
      </p:sp>
      <p:sp>
        <p:nvSpPr>
          <p:cNvPr id="9233" name="CasellaDiTesto 2"/>
          <p:cNvSpPr txBox="1">
            <a:spLocks noChangeArrowheads="1"/>
          </p:cNvSpPr>
          <p:nvPr/>
        </p:nvSpPr>
        <p:spPr bwMode="auto">
          <a:xfrm>
            <a:off x="273050" y="5013325"/>
            <a:ext cx="9359900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/>
            <a:r>
              <a:rPr lang="it-IT" altLang="it-IT" sz="1200"/>
              <a:t>I restanti </a:t>
            </a:r>
            <a:r>
              <a:rPr lang="it-IT" altLang="it-IT" sz="1200" i="1"/>
              <a:t>Driver, Facilità di utilizzo dell’applicazione</a:t>
            </a:r>
            <a:r>
              <a:rPr lang="it-IT" altLang="it-IT" sz="1200"/>
              <a:t>, </a:t>
            </a:r>
            <a:r>
              <a:rPr lang="it-IT" altLang="it-IT" sz="1200" i="1"/>
              <a:t>Semplicità e chiarezza delle modalità di abilitazione al servizio</a:t>
            </a:r>
            <a:r>
              <a:rPr lang="it-IT" altLang="it-IT" sz="1200"/>
              <a:t>, </a:t>
            </a:r>
            <a:r>
              <a:rPr lang="it-IT" altLang="it-IT" sz="1200" i="1"/>
              <a:t>Facilità di reperimento dell’esito del servizio</a:t>
            </a:r>
            <a:r>
              <a:rPr lang="it-IT" altLang="it-IT" sz="1200"/>
              <a:t>, </a:t>
            </a:r>
            <a:r>
              <a:rPr lang="it-IT" altLang="it-IT" sz="1200" i="1"/>
              <a:t>Chiarezza e completezza delle motivazioni per la richiesta di assistenza</a:t>
            </a:r>
            <a:r>
              <a:rPr lang="it-IT" altLang="it-IT" sz="1200"/>
              <a:t> e </a:t>
            </a:r>
            <a:r>
              <a:rPr lang="it-IT" altLang="it-IT" sz="1200" i="1"/>
              <a:t>Capacità degli ALERT di fornire aiuto nell’utilizzo del servizio </a:t>
            </a:r>
            <a:r>
              <a:rPr lang="it-IT" altLang="it-IT" sz="1200"/>
              <a:t>hanno registrato valori poco significativi in termini di margine di contribuzione rispetto al livello di soddisfazione complessiva e sono pertanto stati considerati trascurabili. </a:t>
            </a:r>
            <a:endParaRPr lang="it-IT" altLang="it-IT"/>
          </a:p>
        </p:txBody>
      </p:sp>
      <p:sp>
        <p:nvSpPr>
          <p:cNvPr id="15" name="Rettangolo 14"/>
          <p:cNvSpPr/>
          <p:nvPr/>
        </p:nvSpPr>
        <p:spPr bwMode="auto">
          <a:xfrm>
            <a:off x="2722563" y="987425"/>
            <a:ext cx="1582737" cy="2952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80962" tIns="39688" rIns="80962" bIns="39688">
            <a:spAutoFit/>
          </a:bodyPr>
          <a:lstStyle/>
          <a:p>
            <a:pPr algn="ctr">
              <a:defRPr/>
            </a:pPr>
            <a:r>
              <a:rPr lang="it-IT" sz="1400" b="1" dirty="0">
                <a:solidFill>
                  <a:srgbClr val="0F407B"/>
                </a:solidFill>
                <a:latin typeface="+mj-lt"/>
              </a:rPr>
              <a:t>driver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3375"/>
            <a:ext cx="9344025" cy="647700"/>
          </a:xfrm>
        </p:spPr>
        <p:txBody>
          <a:bodyPr/>
          <a:lstStyle/>
          <a:p>
            <a:r>
              <a:rPr lang="en-US" altLang="it-IT" sz="2400" smtClean="0"/>
              <a:t>MAPPA PRIORITÀ: DESCRIZIONE</a:t>
            </a:r>
          </a:p>
        </p:txBody>
      </p:sp>
      <p:sp>
        <p:nvSpPr>
          <p:cNvPr id="21507" name="CasellaDiTesto 1"/>
          <p:cNvSpPr txBox="1">
            <a:spLocks noChangeArrowheads="1"/>
          </p:cNvSpPr>
          <p:nvPr/>
        </p:nvSpPr>
        <p:spPr bwMode="auto">
          <a:xfrm>
            <a:off x="273050" y="6381750"/>
            <a:ext cx="374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200" b="1">
                <a:solidFill>
                  <a:srgbClr val="E3600F"/>
                </a:solidFill>
              </a:rPr>
              <a:t>Direzione Centrale Servizi ai Contribuenti </a:t>
            </a: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01D6EA-CD4E-4DEA-B1B0-16FB5175D596}" type="slidenum">
              <a:rPr lang="it-IT" smtClean="0"/>
              <a:pPr>
                <a:defRPr/>
              </a:pPr>
              <a:t>19</a:t>
            </a:fld>
            <a:endParaRPr lang="it-IT"/>
          </a:p>
        </p:txBody>
      </p:sp>
      <p:sp>
        <p:nvSpPr>
          <p:cNvPr id="34" name="Rectangle 2"/>
          <p:cNvSpPr txBox="1">
            <a:spLocks noChangeArrowheads="1"/>
          </p:cNvSpPr>
          <p:nvPr/>
        </p:nvSpPr>
        <p:spPr bwMode="auto">
          <a:xfrm>
            <a:off x="344488" y="1052513"/>
            <a:ext cx="8915400" cy="4645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indent="0" algn="just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600" kern="0" dirty="0" smtClean="0"/>
              <a:t>A partire dalle valutazioni per i singoli aspetti del servizio (calcolati con indici di soddisfazione) e l’importanza di ciascun aspetto (calcolato come coefficiente di regressione riportato a 100) è possibile costruire una mappa delle priorità, i cui 4 quadranti hanno i seguenti significati</a:t>
            </a:r>
          </a:p>
        </p:txBody>
      </p:sp>
      <p:pic>
        <p:nvPicPr>
          <p:cNvPr id="2151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0" y="2589213"/>
            <a:ext cx="8477250" cy="3792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479425" y="1341438"/>
            <a:ext cx="9001125" cy="2592387"/>
          </a:xfrm>
        </p:spPr>
        <p:txBody>
          <a:bodyPr/>
          <a:lstStyle/>
          <a:p>
            <a:pPr marL="0" algn="just">
              <a:buClr>
                <a:srgbClr val="FF9933"/>
              </a:buClr>
              <a:defRPr/>
            </a:pPr>
            <a:r>
              <a:rPr lang="it-IT" sz="2000" kern="1200" dirty="0" smtClean="0">
                <a:cs typeface="Arial" pitchFamily="34" charset="0"/>
              </a:rPr>
              <a:t>L’Agenzia delle Entrate ha condotto un’indagine per conoscere il livello di </a:t>
            </a:r>
            <a:r>
              <a:rPr lang="it-IT" sz="2000" b="1" kern="1200" dirty="0" smtClean="0">
                <a:cs typeface="Arial" pitchFamily="34" charset="0"/>
              </a:rPr>
              <a:t>soddisfazione dei </a:t>
            </a:r>
            <a:r>
              <a:rPr lang="it-IT" sz="2000" b="1" dirty="0" smtClean="0">
                <a:cs typeface="Arial" pitchFamily="34" charset="0"/>
              </a:rPr>
              <a:t>cittadini e dei professionisti</a:t>
            </a:r>
            <a:r>
              <a:rPr lang="it-IT" sz="2000" dirty="0" smtClean="0">
                <a:cs typeface="Arial" pitchFamily="34" charset="0"/>
              </a:rPr>
              <a:t> rispetto ai servizi di assistenza su</a:t>
            </a:r>
            <a:r>
              <a:rPr lang="it-IT" sz="2000" dirty="0" smtClean="0"/>
              <a:t>lle </a:t>
            </a:r>
            <a:r>
              <a:rPr lang="it-IT" sz="2000" dirty="0"/>
              <a:t>comunicazioni di irregolarità e </a:t>
            </a:r>
            <a:r>
              <a:rPr lang="it-IT" sz="2000" dirty="0" smtClean="0"/>
              <a:t>sulle </a:t>
            </a:r>
            <a:r>
              <a:rPr lang="it-IT" sz="2000" dirty="0"/>
              <a:t>cartelle di </a:t>
            </a:r>
            <a:r>
              <a:rPr lang="it-IT" sz="2000" dirty="0" smtClean="0"/>
              <a:t>pagamento, </a:t>
            </a:r>
            <a:r>
              <a:rPr lang="it-IT" sz="2000" dirty="0" smtClean="0">
                <a:cs typeface="Arial" pitchFamily="34" charset="0"/>
              </a:rPr>
              <a:t>resi dal canale telematico </a:t>
            </a:r>
            <a:endParaRPr lang="it-IT" sz="2000" kern="1200" dirty="0" smtClean="0">
              <a:cs typeface="Arial" pitchFamily="34" charset="0"/>
            </a:endParaRPr>
          </a:p>
          <a:p>
            <a:pPr marL="0" algn="ctr">
              <a:buClr>
                <a:srgbClr val="FF9933"/>
              </a:buClr>
              <a:defRPr/>
            </a:pPr>
            <a:r>
              <a:rPr lang="it-IT" kern="1200" dirty="0" smtClean="0">
                <a:solidFill>
                  <a:srgbClr val="E3600F"/>
                </a:solidFill>
                <a:cs typeface="Arial" pitchFamily="34" charset="0"/>
              </a:rPr>
              <a:t>CIVIS </a:t>
            </a:r>
          </a:p>
          <a:p>
            <a:pPr marL="0" algn="just">
              <a:buClr>
                <a:srgbClr val="FF9933"/>
              </a:buClr>
              <a:defRPr/>
            </a:pPr>
            <a:endParaRPr lang="it-IT" sz="2000" kern="1200" dirty="0">
              <a:cs typeface="Arial" pitchFamily="34" charset="0"/>
            </a:endParaRP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3375"/>
            <a:ext cx="9344025" cy="647700"/>
          </a:xfrm>
        </p:spPr>
        <p:txBody>
          <a:bodyPr/>
          <a:lstStyle/>
          <a:p>
            <a:r>
              <a:rPr lang="en-US" altLang="it-IT" sz="2400" smtClean="0"/>
              <a:t>OBIETTIVO CUSTOMER SATISFACTION</a:t>
            </a:r>
          </a:p>
        </p:txBody>
      </p:sp>
      <p:sp>
        <p:nvSpPr>
          <p:cNvPr id="13316" name="CasellaDiTesto 1"/>
          <p:cNvSpPr txBox="1">
            <a:spLocks noChangeArrowheads="1"/>
          </p:cNvSpPr>
          <p:nvPr/>
        </p:nvSpPr>
        <p:spPr bwMode="auto">
          <a:xfrm>
            <a:off x="273050" y="6381750"/>
            <a:ext cx="374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200" b="1">
                <a:solidFill>
                  <a:srgbClr val="E3600F"/>
                </a:solidFill>
              </a:rPr>
              <a:t>Direzione Centrale Servizi ai Contribuenti </a:t>
            </a: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2AD6C77-A76D-4704-B0FB-A592A41C4222}" type="slidenum">
              <a:rPr lang="it-IT" smtClean="0"/>
              <a:pPr>
                <a:defRPr/>
              </a:pPr>
              <a:t>2</a:t>
            </a:fld>
            <a:endParaRPr lang="it-IT"/>
          </a:p>
        </p:txBody>
      </p:sp>
      <p:sp>
        <p:nvSpPr>
          <p:cNvPr id="13318" name="Rettangolo 3"/>
          <p:cNvSpPr>
            <a:spLocks noChangeArrowheads="1"/>
          </p:cNvSpPr>
          <p:nvPr/>
        </p:nvSpPr>
        <p:spPr bwMode="auto">
          <a:xfrm>
            <a:off x="1423988" y="4005263"/>
            <a:ext cx="720090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indent="1111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20000"/>
              </a:spcBef>
              <a:buClr>
                <a:srgbClr val="FF9933"/>
              </a:buClr>
            </a:pPr>
            <a:r>
              <a:rPr lang="it-IT" altLang="it-IT" sz="2000">
                <a:solidFill>
                  <a:srgbClr val="073C62"/>
                </a:solidFill>
                <a:latin typeface="Verdana" pitchFamily="34" charset="0"/>
                <a:cs typeface="Arial" charset="0"/>
              </a:rPr>
              <a:t>al fine di migliorarne il livello qualitativo e per renderli più aderenti alle loro esigenze</a:t>
            </a:r>
          </a:p>
        </p:txBody>
      </p:sp>
      <p:sp>
        <p:nvSpPr>
          <p:cNvPr id="13319" name="Rectangle 2"/>
          <p:cNvSpPr txBox="1">
            <a:spLocks noChangeArrowheads="1"/>
          </p:cNvSpPr>
          <p:nvPr/>
        </p:nvSpPr>
        <p:spPr bwMode="auto">
          <a:xfrm>
            <a:off x="200025" y="5805488"/>
            <a:ext cx="9217025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indent="1111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Clr>
                <a:srgbClr val="FF9933"/>
              </a:buClr>
            </a:pPr>
            <a:r>
              <a:rPr lang="it-IT" altLang="it-IT" sz="1200" i="1">
                <a:solidFill>
                  <a:srgbClr val="073C62"/>
                </a:solidFill>
                <a:latin typeface="Verdana" pitchFamily="34" charset="0"/>
                <a:cs typeface="Arial" charset="0"/>
              </a:rPr>
              <a:t>L’indagine è stata realizzata con la collaborazione di  Sogei  e di GfK Eurisko per l’ analisi dei risultati. </a:t>
            </a:r>
          </a:p>
        </p:txBody>
      </p:sp>
      <p:sp>
        <p:nvSpPr>
          <p:cNvPr id="13320" name="Freccia in giù 8"/>
          <p:cNvSpPr>
            <a:spLocks noChangeArrowheads="1"/>
          </p:cNvSpPr>
          <p:nvPr/>
        </p:nvSpPr>
        <p:spPr bwMode="auto">
          <a:xfrm>
            <a:off x="4521200" y="3357563"/>
            <a:ext cx="936625" cy="576262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80962" tIns="39688" rIns="80962" bIns="3968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it-IT" altLang="it-IT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3375"/>
            <a:ext cx="9344025" cy="647700"/>
          </a:xfrm>
        </p:spPr>
        <p:txBody>
          <a:bodyPr/>
          <a:lstStyle/>
          <a:p>
            <a:r>
              <a:rPr lang="en-US" altLang="it-IT" sz="2400" dirty="0" smtClean="0"/>
              <a:t>MAPPA PRIORITÀ: SINGOLI DRIVER</a:t>
            </a:r>
          </a:p>
        </p:txBody>
      </p:sp>
      <p:sp>
        <p:nvSpPr>
          <p:cNvPr id="10244" name="CasellaDiTesto 1"/>
          <p:cNvSpPr txBox="1">
            <a:spLocks noChangeArrowheads="1"/>
          </p:cNvSpPr>
          <p:nvPr/>
        </p:nvSpPr>
        <p:spPr bwMode="auto">
          <a:xfrm>
            <a:off x="273050" y="6381750"/>
            <a:ext cx="374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200" b="1">
                <a:solidFill>
                  <a:srgbClr val="E3600F"/>
                </a:solidFill>
              </a:rPr>
              <a:t>Direzione Centrale Servizi ai Contribuenti </a:t>
            </a: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5C31D2F-0569-4B67-8F20-BB14E0A95429}" type="slidenum">
              <a:rPr lang="it-IT" smtClean="0"/>
              <a:pPr>
                <a:defRPr/>
              </a:pPr>
              <a:t>20</a:t>
            </a:fld>
            <a:endParaRPr lang="it-IT"/>
          </a:p>
        </p:txBody>
      </p:sp>
      <p:sp>
        <p:nvSpPr>
          <p:cNvPr id="10246" name="Rectangle 2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17550" y="1557338"/>
            <a:ext cx="57626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0" rIns="9000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en-US" altLang="it-IT" sz="1000">
                <a:solidFill>
                  <a:srgbClr val="000000"/>
                </a:solidFill>
                <a:cs typeface="Arial" charset="0"/>
              </a:rPr>
              <a:t>Alta</a:t>
            </a:r>
          </a:p>
        </p:txBody>
      </p:sp>
      <p:sp>
        <p:nvSpPr>
          <p:cNvPr id="10247" name="Rectangle 2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03263" y="5013325"/>
            <a:ext cx="576262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0" rIns="90000" bIns="0" anchor="b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en-US" altLang="it-IT" sz="1000">
                <a:solidFill>
                  <a:srgbClr val="000000"/>
                </a:solidFill>
                <a:cs typeface="Arial" charset="0"/>
              </a:rPr>
              <a:t>Bassa</a:t>
            </a:r>
          </a:p>
        </p:txBody>
      </p:sp>
      <p:sp>
        <p:nvSpPr>
          <p:cNvPr id="8" name="Line 31"/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 flipV="1">
            <a:off x="1135063" y="1774825"/>
            <a:ext cx="0" cy="3311525"/>
          </a:xfrm>
          <a:prstGeom prst="line">
            <a:avLst/>
          </a:prstGeom>
          <a:noFill/>
          <a:ln w="19050">
            <a:solidFill>
              <a:srgbClr val="928580"/>
            </a:solidFill>
            <a:round/>
            <a:headEnd/>
            <a:tailEnd type="triangle" w="med" len="med"/>
          </a:ln>
          <a:ex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10249" name="Rectangle 3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 flipH="1">
            <a:off x="-305593" y="3213894"/>
            <a:ext cx="2592387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54000" bIns="54000" anchor="b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it-IT" sz="1400" b="1">
                <a:solidFill>
                  <a:srgbClr val="000000"/>
                </a:solidFill>
                <a:cs typeface="Arial" charset="0"/>
              </a:rPr>
              <a:t>importanza  </a:t>
            </a:r>
            <a:r>
              <a:rPr lang="en-US" altLang="it-IT" sz="1000">
                <a:solidFill>
                  <a:srgbClr val="000000"/>
                </a:solidFill>
                <a:cs typeface="Arial" charset="0"/>
              </a:rPr>
              <a:t>(media = 11,1)</a:t>
            </a:r>
            <a:endParaRPr lang="en-US" altLang="it-IT" sz="1000" b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250" name="Rectangle 3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659563" y="5430838"/>
            <a:ext cx="5492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7200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it-IT" sz="1000">
                <a:solidFill>
                  <a:srgbClr val="000000"/>
                </a:solidFill>
                <a:cs typeface="Arial" charset="0"/>
              </a:rPr>
              <a:t>Alta</a:t>
            </a:r>
          </a:p>
        </p:txBody>
      </p:sp>
      <p:sp>
        <p:nvSpPr>
          <p:cNvPr id="11" name="Line 31"/>
          <p:cNvSpPr>
            <a:spLocks noChangeShapeType="1"/>
          </p:cNvSpPr>
          <p:nvPr>
            <p:custDataLst>
              <p:tags r:id="rId7"/>
            </p:custDataLst>
          </p:nvPr>
        </p:nvSpPr>
        <p:spPr bwMode="gray">
          <a:xfrm rot="5400000" flipV="1">
            <a:off x="3948113" y="3008313"/>
            <a:ext cx="0" cy="5162550"/>
          </a:xfrm>
          <a:prstGeom prst="line">
            <a:avLst/>
          </a:prstGeom>
          <a:noFill/>
          <a:ln w="19050">
            <a:solidFill>
              <a:srgbClr val="928580"/>
            </a:solidFill>
            <a:round/>
            <a:headEnd/>
            <a:tailEnd type="triangle" w="med" len="med"/>
          </a:ln>
          <a:ex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000000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10252" name="Rectangle 3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 flipH="1">
            <a:off x="2857500" y="5589588"/>
            <a:ext cx="230505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54000" bIns="5400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it-IT" sz="1400">
                <a:solidFill>
                  <a:srgbClr val="000000"/>
                </a:solidFill>
                <a:cs typeface="Arial" charset="0"/>
              </a:rPr>
              <a:t> indice </a:t>
            </a:r>
            <a:r>
              <a:rPr lang="en-US" altLang="it-IT" sz="1400" b="1">
                <a:solidFill>
                  <a:srgbClr val="000000"/>
                </a:solidFill>
                <a:cs typeface="Arial" charset="0"/>
              </a:rPr>
              <a:t>Soddisfazione  </a:t>
            </a:r>
            <a:r>
              <a:rPr lang="en-US" altLang="it-IT" sz="1000">
                <a:solidFill>
                  <a:srgbClr val="000000"/>
                </a:solidFill>
                <a:cs typeface="Arial" charset="0"/>
              </a:rPr>
              <a:t>(media = 82)</a:t>
            </a:r>
          </a:p>
        </p:txBody>
      </p:sp>
      <p:graphicFrame>
        <p:nvGraphicFramePr>
          <p:cNvPr id="10242" name="Oggetto 50"/>
          <p:cNvGraphicFramePr>
            <a:graphicFrameLocks noChangeAspect="1"/>
          </p:cNvGraphicFramePr>
          <p:nvPr/>
        </p:nvGraphicFramePr>
        <p:xfrm>
          <a:off x="1222375" y="1458913"/>
          <a:ext cx="7493000" cy="41640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9" r:id="rId11" imgW="7492633" imgH="4163929" progId="Excel.Chart.8">
                  <p:embed/>
                </p:oleObj>
              </mc:Choice>
              <mc:Fallback>
                <p:oleObj r:id="rId11" imgW="7492633" imgH="4163929" progId="Excel.Chart.8">
                  <p:embed/>
                  <p:pic>
                    <p:nvPicPr>
                      <p:cNvPr id="0" name="Oggetto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22375" y="1458913"/>
                        <a:ext cx="7493000" cy="41640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53" name="Oval 6"/>
          <p:cNvSpPr>
            <a:spLocks noChangeArrowheads="1"/>
          </p:cNvSpPr>
          <p:nvPr/>
        </p:nvSpPr>
        <p:spPr bwMode="auto">
          <a:xfrm rot="-5400000">
            <a:off x="4906169" y="3142456"/>
            <a:ext cx="1576388" cy="2143125"/>
          </a:xfrm>
          <a:prstGeom prst="ellipse">
            <a:avLst/>
          </a:prstGeom>
          <a:noFill/>
          <a:ln w="38100">
            <a:solidFill>
              <a:srgbClr val="99CC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it-IT" altLang="it-IT">
                <a:latin typeface="Times" pitchFamily="18" charset="0"/>
                <a:cs typeface="Arial" charset="0"/>
              </a:rPr>
              <a:t>                      </a:t>
            </a:r>
          </a:p>
        </p:txBody>
      </p:sp>
      <p:sp>
        <p:nvSpPr>
          <p:cNvPr id="10254" name="Oval 7"/>
          <p:cNvSpPr>
            <a:spLocks noChangeArrowheads="1"/>
          </p:cNvSpPr>
          <p:nvPr/>
        </p:nvSpPr>
        <p:spPr bwMode="auto">
          <a:xfrm rot="-4988467">
            <a:off x="3879850" y="2081213"/>
            <a:ext cx="1930400" cy="1479550"/>
          </a:xfrm>
          <a:prstGeom prst="ellipse">
            <a:avLst/>
          </a:prstGeom>
          <a:noFill/>
          <a:ln w="38100">
            <a:solidFill>
              <a:srgbClr val="06901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it-IT" altLang="it-IT">
              <a:latin typeface="Times" pitchFamily="18" charset="0"/>
              <a:cs typeface="Arial" charset="0"/>
            </a:endParaRPr>
          </a:p>
        </p:txBody>
      </p:sp>
      <p:cxnSp>
        <p:nvCxnSpPr>
          <p:cNvPr id="16" name="Connettore 2 15"/>
          <p:cNvCxnSpPr>
            <a:endCxn id="17" idx="2"/>
          </p:cNvCxnSpPr>
          <p:nvPr/>
        </p:nvCxnSpPr>
        <p:spPr>
          <a:xfrm flipV="1">
            <a:off x="5407025" y="1709738"/>
            <a:ext cx="1136650" cy="352425"/>
          </a:xfrm>
          <a:prstGeom prst="straightConnector1">
            <a:avLst/>
          </a:prstGeom>
          <a:ln w="38100">
            <a:solidFill>
              <a:srgbClr val="06901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ttangolo 16"/>
          <p:cNvSpPr/>
          <p:nvPr/>
        </p:nvSpPr>
        <p:spPr>
          <a:xfrm>
            <a:off x="5680075" y="1236663"/>
            <a:ext cx="1728788" cy="473075"/>
          </a:xfrm>
          <a:prstGeom prst="rect">
            <a:avLst/>
          </a:prstGeom>
          <a:solidFill>
            <a:schemeClr val="bg1"/>
          </a:solidFill>
          <a:ln>
            <a:solidFill>
              <a:srgbClr val="0690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000" dirty="0">
                <a:solidFill>
                  <a:schemeClr val="tx1"/>
                </a:solidFill>
              </a:rPr>
              <a:t>Punti di forza da </a:t>
            </a:r>
            <a:r>
              <a:rPr lang="it-IT" sz="1000" b="1" dirty="0">
                <a:solidFill>
                  <a:schemeClr val="tx1"/>
                </a:solidFill>
              </a:rPr>
              <a:t>mantenere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7208838" y="2863850"/>
            <a:ext cx="1727200" cy="473075"/>
          </a:xfrm>
          <a:prstGeom prst="rect">
            <a:avLst/>
          </a:prstGeom>
          <a:solidFill>
            <a:schemeClr val="bg1"/>
          </a:solidFill>
          <a:ln>
            <a:solidFill>
              <a:srgbClr val="99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000" dirty="0">
                <a:solidFill>
                  <a:schemeClr val="tx1"/>
                </a:solidFill>
              </a:rPr>
              <a:t>Opportunità da </a:t>
            </a:r>
            <a:r>
              <a:rPr lang="it-IT" sz="1000" b="1" dirty="0">
                <a:solidFill>
                  <a:schemeClr val="tx1"/>
                </a:solidFill>
              </a:rPr>
              <a:t>valorizzare*</a:t>
            </a:r>
          </a:p>
        </p:txBody>
      </p:sp>
      <p:cxnSp>
        <p:nvCxnSpPr>
          <p:cNvPr id="19" name="Connettore 2 18"/>
          <p:cNvCxnSpPr>
            <a:stCxn id="10253" idx="5"/>
            <a:endCxn id="18" idx="1"/>
          </p:cNvCxnSpPr>
          <p:nvPr/>
        </p:nvCxnSpPr>
        <p:spPr>
          <a:xfrm flipV="1">
            <a:off x="6453188" y="3100388"/>
            <a:ext cx="755650" cy="557212"/>
          </a:xfrm>
          <a:prstGeom prst="straightConnector1">
            <a:avLst/>
          </a:prstGeom>
          <a:ln w="38100">
            <a:solidFill>
              <a:srgbClr val="99CC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59" name="Rettangolo 19"/>
          <p:cNvSpPr>
            <a:spLocks noChangeArrowheads="1"/>
          </p:cNvSpPr>
          <p:nvPr/>
        </p:nvSpPr>
        <p:spPr bwMode="auto">
          <a:xfrm>
            <a:off x="3051175" y="1989138"/>
            <a:ext cx="10080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" hangingPunct="1"/>
            <a:r>
              <a:rPr lang="it-IT" altLang="it-IT" sz="1000" b="1">
                <a:solidFill>
                  <a:srgbClr val="000000"/>
                </a:solidFill>
                <a:cs typeface="Arial" charset="0"/>
              </a:rPr>
              <a:t>Chiarezza esito  servizio</a:t>
            </a:r>
          </a:p>
        </p:txBody>
      </p:sp>
      <p:sp>
        <p:nvSpPr>
          <p:cNvPr id="10260" name="Rettangolo 25"/>
          <p:cNvSpPr>
            <a:spLocks noChangeArrowheads="1"/>
          </p:cNvSpPr>
          <p:nvPr/>
        </p:nvSpPr>
        <p:spPr bwMode="auto">
          <a:xfrm>
            <a:off x="5673725" y="3984625"/>
            <a:ext cx="12239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" hangingPunct="1"/>
            <a:r>
              <a:rPr lang="it-IT" altLang="it-IT" sz="1000" b="1">
                <a:solidFill>
                  <a:srgbClr val="000000"/>
                </a:solidFill>
                <a:cs typeface="Arial" charset="0"/>
              </a:rPr>
              <a:t>Facilità accesso servizio</a:t>
            </a:r>
          </a:p>
        </p:txBody>
      </p:sp>
      <p:sp>
        <p:nvSpPr>
          <p:cNvPr id="10261" name="Rettangolo 26"/>
          <p:cNvSpPr>
            <a:spLocks noChangeArrowheads="1"/>
          </p:cNvSpPr>
          <p:nvPr/>
        </p:nvSpPr>
        <p:spPr bwMode="auto">
          <a:xfrm>
            <a:off x="4862513" y="2959100"/>
            <a:ext cx="12239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" hangingPunct="1"/>
            <a:r>
              <a:rPr lang="it-IT" altLang="it-IT" sz="1000" b="1">
                <a:solidFill>
                  <a:srgbClr val="000000"/>
                </a:solidFill>
                <a:cs typeface="Arial" charset="0"/>
              </a:rPr>
              <a:t>Adeguatezza tempi risposta</a:t>
            </a:r>
          </a:p>
        </p:txBody>
      </p:sp>
      <p:sp>
        <p:nvSpPr>
          <p:cNvPr id="10262" name="Rettangolo 27"/>
          <p:cNvSpPr>
            <a:spLocks noChangeArrowheads="1"/>
          </p:cNvSpPr>
          <p:nvPr/>
        </p:nvSpPr>
        <p:spPr bwMode="auto">
          <a:xfrm>
            <a:off x="2857500" y="2863850"/>
            <a:ext cx="1223963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" hangingPunct="1"/>
            <a:r>
              <a:rPr lang="it-IT" altLang="it-IT" sz="1000" b="1">
                <a:solidFill>
                  <a:srgbClr val="000000"/>
                </a:solidFill>
                <a:cs typeface="Arial" charset="0"/>
              </a:rPr>
              <a:t>Chiarezza info da fornire per avere assistenza</a:t>
            </a:r>
          </a:p>
        </p:txBody>
      </p:sp>
      <p:sp>
        <p:nvSpPr>
          <p:cNvPr id="10263" name="Rettangolo 28"/>
          <p:cNvSpPr>
            <a:spLocks noChangeArrowheads="1"/>
          </p:cNvSpPr>
          <p:nvPr/>
        </p:nvSpPr>
        <p:spPr bwMode="auto">
          <a:xfrm>
            <a:off x="2143125" y="4060825"/>
            <a:ext cx="1223963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" hangingPunct="1"/>
            <a:r>
              <a:rPr lang="it-IT" altLang="it-IT" sz="1000" b="1">
                <a:solidFill>
                  <a:srgbClr val="000000"/>
                </a:solidFill>
                <a:cs typeface="Arial" charset="0"/>
              </a:rPr>
              <a:t>Info su stato pratica</a:t>
            </a:r>
          </a:p>
        </p:txBody>
      </p:sp>
      <p:sp>
        <p:nvSpPr>
          <p:cNvPr id="10264" name="Rettangolo 29"/>
          <p:cNvSpPr>
            <a:spLocks noChangeArrowheads="1"/>
          </p:cNvSpPr>
          <p:nvPr/>
        </p:nvSpPr>
        <p:spPr bwMode="auto">
          <a:xfrm>
            <a:off x="4737100" y="4356100"/>
            <a:ext cx="12271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" hangingPunct="1"/>
            <a:r>
              <a:rPr lang="it-IT" altLang="it-IT" sz="1000" b="1">
                <a:solidFill>
                  <a:srgbClr val="000000"/>
                </a:solidFill>
                <a:cs typeface="Arial" charset="0"/>
              </a:rPr>
              <a:t>Rapidità risposta richiesta assistenza</a:t>
            </a:r>
          </a:p>
        </p:txBody>
      </p:sp>
      <p:sp>
        <p:nvSpPr>
          <p:cNvPr id="33" name="Rettangolo 32"/>
          <p:cNvSpPr/>
          <p:nvPr/>
        </p:nvSpPr>
        <p:spPr bwMode="auto">
          <a:xfrm>
            <a:off x="7329488" y="4033838"/>
            <a:ext cx="2448048" cy="174214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square" lIns="80962" tIns="39688" rIns="80962" bIns="39688">
            <a:spAutoFit/>
          </a:bodyPr>
          <a:lstStyle/>
          <a:p>
            <a:pPr>
              <a:defRPr/>
            </a:pPr>
            <a:r>
              <a:rPr lang="it-IT" sz="900" i="1" dirty="0" smtClean="0">
                <a:latin typeface="Arial" pitchFamily="34" charset="0"/>
              </a:rPr>
              <a:t>* </a:t>
            </a:r>
            <a:r>
              <a:rPr lang="it-IT" sz="900" b="1" dirty="0" smtClean="0">
                <a:latin typeface="Arial" pitchFamily="34" charset="0"/>
              </a:rPr>
              <a:t>Nota</a:t>
            </a:r>
            <a:r>
              <a:rPr lang="it-IT" sz="900" b="1" dirty="0">
                <a:latin typeface="Arial" pitchFamily="34" charset="0"/>
              </a:rPr>
              <a:t>: </a:t>
            </a:r>
            <a:r>
              <a:rPr lang="it-IT" sz="900" dirty="0">
                <a:latin typeface="Arial" pitchFamily="34" charset="0"/>
              </a:rPr>
              <a:t>non sono rappresentati i driver non significativamente legati alla soddisfazione complessiva</a:t>
            </a:r>
          </a:p>
          <a:p>
            <a:pPr marL="87313" indent="-87313">
              <a:buFont typeface="Arial" panose="020B0604020202020204" pitchFamily="34" charset="0"/>
              <a:buChar char="•"/>
              <a:defRPr/>
            </a:pPr>
            <a:r>
              <a:rPr lang="it-IT" sz="900" i="1" dirty="0">
                <a:latin typeface="Arial" pitchFamily="34" charset="0"/>
              </a:rPr>
              <a:t>Facilità di utilizzo dell’applicazione e semplicità /chiarezza delle modalità di abilitazione del servizio </a:t>
            </a:r>
            <a:r>
              <a:rPr lang="it-IT" sz="900" dirty="0">
                <a:latin typeface="Arial" pitchFamily="34" charset="0"/>
              </a:rPr>
              <a:t>sono</a:t>
            </a:r>
            <a:r>
              <a:rPr lang="it-IT" sz="900" b="1" dirty="0">
                <a:latin typeface="Arial" pitchFamily="34" charset="0"/>
              </a:rPr>
              <a:t> opportunità </a:t>
            </a:r>
            <a:r>
              <a:rPr lang="it-IT" sz="900" dirty="0">
                <a:latin typeface="Arial" pitchFamily="34" charset="0"/>
              </a:rPr>
              <a:t>da valorizzare</a:t>
            </a:r>
          </a:p>
          <a:p>
            <a:pPr marL="87313" indent="-87313" fontAlgn="b">
              <a:buFont typeface="Arial" panose="020B0604020202020204" pitchFamily="34" charset="0"/>
              <a:buChar char="•"/>
              <a:defRPr/>
            </a:pPr>
            <a:r>
              <a:rPr lang="it-IT" sz="900" i="1" dirty="0">
                <a:latin typeface="Arial" pitchFamily="34" charset="0"/>
              </a:rPr>
              <a:t>La facilità  di reperimento dell’esito , la chiarezza /completezza delle motivazioni per la richiesta di assistenza e la capacità degli </a:t>
            </a:r>
            <a:r>
              <a:rPr lang="it-IT" sz="900" i="1" dirty="0" err="1">
                <a:latin typeface="Arial" pitchFamily="34" charset="0"/>
              </a:rPr>
              <a:t>Alert</a:t>
            </a:r>
            <a:r>
              <a:rPr lang="it-IT" sz="900" i="1" dirty="0">
                <a:latin typeface="Arial" pitchFamily="34" charset="0"/>
              </a:rPr>
              <a:t> di fornire aiuto </a:t>
            </a:r>
            <a:r>
              <a:rPr lang="it-IT" sz="900" dirty="0">
                <a:latin typeface="Arial" pitchFamily="34" charset="0"/>
              </a:rPr>
              <a:t>sono invece </a:t>
            </a:r>
            <a:r>
              <a:rPr lang="it-IT" sz="900" b="1" dirty="0">
                <a:latin typeface="Arial" pitchFamily="34" charset="0"/>
              </a:rPr>
              <a:t>aspetti secondari </a:t>
            </a:r>
            <a:r>
              <a:rPr lang="it-IT" sz="900" dirty="0">
                <a:latin typeface="Arial" pitchFamily="34" charset="0"/>
              </a:rPr>
              <a:t>da monitorare</a:t>
            </a:r>
            <a:r>
              <a:rPr lang="it-IT" sz="900" b="1" dirty="0">
                <a:latin typeface="Arial" pitchFamily="34" charset="0"/>
              </a:rPr>
              <a:t>	</a:t>
            </a:r>
            <a:endParaRPr lang="it-IT" sz="900" dirty="0">
              <a:latin typeface="Arial" pitchFamily="34" charset="0"/>
            </a:endParaRPr>
          </a:p>
        </p:txBody>
      </p:sp>
      <p:sp>
        <p:nvSpPr>
          <p:cNvPr id="10266" name="Oval 6"/>
          <p:cNvSpPr>
            <a:spLocks noChangeArrowheads="1"/>
          </p:cNvSpPr>
          <p:nvPr/>
        </p:nvSpPr>
        <p:spPr bwMode="auto">
          <a:xfrm rot="-4485914">
            <a:off x="1672432" y="3320256"/>
            <a:ext cx="1462088" cy="2130425"/>
          </a:xfrm>
          <a:prstGeom prst="ellipse">
            <a:avLst/>
          </a:prstGeom>
          <a:noFill/>
          <a:ln w="38100">
            <a:solidFill>
              <a:srgbClr val="FFC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it-IT" altLang="it-IT">
                <a:latin typeface="Times" pitchFamily="18" charset="0"/>
                <a:cs typeface="Arial" charset="0"/>
              </a:rPr>
              <a:t>                      </a:t>
            </a:r>
          </a:p>
        </p:txBody>
      </p:sp>
      <p:sp>
        <p:nvSpPr>
          <p:cNvPr id="39" name="Rettangolo 38"/>
          <p:cNvSpPr/>
          <p:nvPr/>
        </p:nvSpPr>
        <p:spPr>
          <a:xfrm>
            <a:off x="415925" y="5353050"/>
            <a:ext cx="1727200" cy="473075"/>
          </a:xfrm>
          <a:prstGeom prst="rect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000" dirty="0">
                <a:solidFill>
                  <a:schemeClr val="tx1"/>
                </a:solidFill>
              </a:rPr>
              <a:t>Aspetti secondari da </a:t>
            </a:r>
            <a:r>
              <a:rPr lang="it-IT" sz="1000" b="1" dirty="0">
                <a:solidFill>
                  <a:schemeClr val="tx1"/>
                </a:solidFill>
              </a:rPr>
              <a:t>monitorare*</a:t>
            </a:r>
          </a:p>
        </p:txBody>
      </p:sp>
      <p:cxnSp>
        <p:nvCxnSpPr>
          <p:cNvPr id="40" name="Connettore 2 39"/>
          <p:cNvCxnSpPr>
            <a:stCxn id="10266" idx="1"/>
          </p:cNvCxnSpPr>
          <p:nvPr/>
        </p:nvCxnSpPr>
        <p:spPr>
          <a:xfrm flipH="1">
            <a:off x="1279525" y="4686300"/>
            <a:ext cx="260350" cy="601663"/>
          </a:xfrm>
          <a:prstGeom prst="straightConnector1">
            <a:avLst/>
          </a:prstGeom>
          <a:ln w="38100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ttangolo 47"/>
          <p:cNvSpPr/>
          <p:nvPr/>
        </p:nvSpPr>
        <p:spPr>
          <a:xfrm>
            <a:off x="1293813" y="995363"/>
            <a:ext cx="1728787" cy="473075"/>
          </a:xfrm>
          <a:prstGeom prst="rect">
            <a:avLst/>
          </a:prstGeom>
          <a:solidFill>
            <a:schemeClr val="bg1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000" dirty="0">
                <a:solidFill>
                  <a:schemeClr val="tx1"/>
                </a:solidFill>
              </a:rPr>
              <a:t>Area di possibili </a:t>
            </a:r>
            <a:r>
              <a:rPr lang="it-IT" sz="1000" b="1" dirty="0">
                <a:solidFill>
                  <a:schemeClr val="tx1"/>
                </a:solidFill>
              </a:rPr>
              <a:t>miglioramenti</a:t>
            </a:r>
          </a:p>
        </p:txBody>
      </p:sp>
      <p:sp>
        <p:nvSpPr>
          <p:cNvPr id="10270" name="Oval 7"/>
          <p:cNvSpPr>
            <a:spLocks noChangeArrowheads="1"/>
          </p:cNvSpPr>
          <p:nvPr/>
        </p:nvSpPr>
        <p:spPr bwMode="auto">
          <a:xfrm rot="5605131">
            <a:off x="2537619" y="1847056"/>
            <a:ext cx="2236788" cy="1755775"/>
          </a:xfrm>
          <a:prstGeom prst="ellipse">
            <a:avLst/>
          </a:prstGeom>
          <a:noFill/>
          <a:ln w="38100">
            <a:solidFill>
              <a:srgbClr val="FF33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it-IT" altLang="it-IT">
              <a:latin typeface="Times" pitchFamily="18" charset="0"/>
              <a:cs typeface="Arial" charset="0"/>
            </a:endParaRPr>
          </a:p>
        </p:txBody>
      </p:sp>
      <p:cxnSp>
        <p:nvCxnSpPr>
          <p:cNvPr id="50" name="Connettore 2 49"/>
          <p:cNvCxnSpPr>
            <a:stCxn id="10270" idx="3"/>
            <a:endCxn id="48" idx="2"/>
          </p:cNvCxnSpPr>
          <p:nvPr/>
        </p:nvCxnSpPr>
        <p:spPr>
          <a:xfrm flipH="1" flipV="1">
            <a:off x="2159000" y="1468438"/>
            <a:ext cx="925513" cy="430212"/>
          </a:xfrm>
          <a:prstGeom prst="straightConnector1">
            <a:avLst/>
          </a:prstGeom>
          <a:ln w="38100">
            <a:solidFill>
              <a:srgbClr val="FF33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72" name="Rettangolo 35"/>
          <p:cNvSpPr>
            <a:spLocks noChangeArrowheads="1"/>
          </p:cNvSpPr>
          <p:nvPr/>
        </p:nvSpPr>
        <p:spPr bwMode="auto">
          <a:xfrm>
            <a:off x="4059238" y="2305050"/>
            <a:ext cx="10080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" hangingPunct="1"/>
            <a:r>
              <a:rPr lang="it-IT" altLang="it-IT" sz="1000" b="1">
                <a:solidFill>
                  <a:srgbClr val="000000"/>
                </a:solidFill>
                <a:cs typeface="Arial" charset="0"/>
              </a:rPr>
              <a:t>Chiarezza info sul servizio</a:t>
            </a:r>
          </a:p>
        </p:txBody>
      </p:sp>
      <p:sp>
        <p:nvSpPr>
          <p:cNvPr id="10273" name="Rettangolo 36"/>
          <p:cNvSpPr>
            <a:spLocks noChangeArrowheads="1"/>
          </p:cNvSpPr>
          <p:nvPr/>
        </p:nvSpPr>
        <p:spPr bwMode="auto">
          <a:xfrm>
            <a:off x="4598988" y="3752850"/>
            <a:ext cx="10080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" hangingPunct="1"/>
            <a:r>
              <a:rPr lang="it-IT" altLang="it-IT" sz="1000" b="1">
                <a:solidFill>
                  <a:srgbClr val="000000"/>
                </a:solidFill>
                <a:cs typeface="Arial" charset="0"/>
              </a:rPr>
              <a:t>Continuità funzion.servizio</a:t>
            </a:r>
          </a:p>
        </p:txBody>
      </p:sp>
      <p:sp>
        <p:nvSpPr>
          <p:cNvPr id="10274" name="Rettangolo 52"/>
          <p:cNvSpPr>
            <a:spLocks noChangeArrowheads="1"/>
          </p:cNvSpPr>
          <p:nvPr/>
        </p:nvSpPr>
        <p:spPr bwMode="auto">
          <a:xfrm>
            <a:off x="1633538" y="4440238"/>
            <a:ext cx="12239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" hangingPunct="1"/>
            <a:r>
              <a:rPr lang="it-IT" altLang="it-IT" sz="1000" b="1">
                <a:solidFill>
                  <a:srgbClr val="000000"/>
                </a:solidFill>
                <a:cs typeface="Arial" charset="0"/>
              </a:rPr>
              <a:t>Efficacia strumenti assistenza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D77E46E-9372-470D-A4A0-AA4284DCC4B0}" type="slidenum">
              <a:rPr lang="it-IT" smtClean="0"/>
              <a:pPr>
                <a:defRPr/>
              </a:pPr>
              <a:t>3</a:t>
            </a:fld>
            <a:endParaRPr lang="it-IT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3152775" y="1074738"/>
            <a:ext cx="6408738" cy="4722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11113" algn="l" rtl="0" eaLnBrk="0" fontAlgn="base" hangingPunct="0">
              <a:spcBef>
                <a:spcPct val="20000"/>
              </a:spcBef>
              <a:spcAft>
                <a:spcPct val="0"/>
              </a:spcAft>
              <a:defRPr sz="3200">
                <a:solidFill>
                  <a:srgbClr val="073C62"/>
                </a:solidFill>
                <a:latin typeface="+mn-lt"/>
                <a:ea typeface="+mn-ea"/>
                <a:cs typeface="+mn-cs"/>
              </a:defRPr>
            </a:lvl1pPr>
            <a:lvl2pPr marL="8191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800">
                <a:solidFill>
                  <a:srgbClr val="073C62"/>
                </a:solidFill>
                <a:latin typeface="+mn-lt"/>
              </a:defRPr>
            </a:lvl2pPr>
            <a:lvl3pPr marL="12271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73C62"/>
                </a:solidFill>
                <a:latin typeface="+mn-lt"/>
              </a:defRPr>
            </a:lvl3pPr>
            <a:lvl4pPr marL="16351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73C6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73C62"/>
                </a:solidFill>
                <a:latin typeface="+mn-lt"/>
              </a:defRPr>
            </a:lvl9pPr>
          </a:lstStyle>
          <a:p>
            <a:pPr marL="0" indent="0" algn="just">
              <a:buClr>
                <a:srgbClr val="FF9933"/>
              </a:buClr>
              <a:defRPr/>
            </a:pPr>
            <a:r>
              <a:rPr lang="it-IT" sz="1600" kern="0" dirty="0" smtClean="0"/>
              <a:t>somministrazione a cura di SOGEI di un </a:t>
            </a:r>
            <a:r>
              <a:rPr lang="it-IT" sz="1600" b="1" kern="0" dirty="0" smtClean="0"/>
              <a:t>questionario web </a:t>
            </a:r>
            <a:r>
              <a:rPr lang="it-IT" sz="1600" kern="0" dirty="0" smtClean="0"/>
              <a:t>agli utenti che hanno richiesto assistenza tramite CIVIS</a:t>
            </a:r>
          </a:p>
          <a:p>
            <a:pPr marL="0" indent="0" algn="just">
              <a:buClr>
                <a:srgbClr val="FF9933"/>
              </a:buClr>
              <a:defRPr/>
            </a:pPr>
            <a:endParaRPr lang="it-IT" sz="1200" kern="0" dirty="0" smtClean="0"/>
          </a:p>
          <a:p>
            <a:pPr marL="0" indent="0" algn="just">
              <a:buClr>
                <a:srgbClr val="FF9933"/>
              </a:buClr>
              <a:defRPr/>
            </a:pPr>
            <a:r>
              <a:rPr lang="it-IT" sz="1600" b="1" kern="0" dirty="0" smtClean="0"/>
              <a:t>3.012* tra cittadini e professionisti </a:t>
            </a:r>
            <a:r>
              <a:rPr lang="it-IT" sz="1600" kern="0" dirty="0" smtClean="0"/>
              <a:t>(dei </a:t>
            </a:r>
            <a:r>
              <a:rPr lang="it-IT" sz="1600" kern="0" dirty="0" smtClean="0"/>
              <a:t>46.000 utenti </a:t>
            </a:r>
            <a:r>
              <a:rPr lang="it-IT" sz="1600" kern="0" dirty="0" smtClean="0"/>
              <a:t>medi/mese) contattati con email dopo 15 giorni dalla richiesta di assistenza</a:t>
            </a:r>
          </a:p>
          <a:p>
            <a:pPr marL="0" indent="0" algn="just">
              <a:buClr>
                <a:srgbClr val="FF9933"/>
              </a:buClr>
              <a:defRPr/>
            </a:pPr>
            <a:endParaRPr lang="it-IT" sz="1200" kern="0" dirty="0" smtClean="0"/>
          </a:p>
          <a:p>
            <a:pPr marL="0" indent="0" algn="just">
              <a:buClr>
                <a:srgbClr val="FF9933"/>
              </a:buClr>
              <a:defRPr/>
            </a:pPr>
            <a:r>
              <a:rPr lang="it-IT" sz="1600" b="1" kern="0" dirty="0" smtClean="0"/>
              <a:t>19 novembre – 15 dicembre 2013</a:t>
            </a:r>
          </a:p>
          <a:p>
            <a:pPr marL="0" indent="0" algn="just">
              <a:buClr>
                <a:srgbClr val="FF9933"/>
              </a:buClr>
              <a:defRPr/>
            </a:pPr>
            <a:endParaRPr lang="it-IT" sz="1600" kern="0" dirty="0" smtClean="0"/>
          </a:p>
          <a:p>
            <a:pPr marL="0" indent="0" algn="just">
              <a:buClr>
                <a:srgbClr val="FF9933"/>
              </a:buClr>
              <a:defRPr/>
            </a:pPr>
            <a:endParaRPr lang="it-IT" sz="1200" kern="0" dirty="0" smtClean="0"/>
          </a:p>
          <a:p>
            <a:pPr marL="0" indent="0" algn="just">
              <a:buClr>
                <a:srgbClr val="FF9933"/>
              </a:buClr>
              <a:defRPr/>
            </a:pPr>
            <a:r>
              <a:rPr lang="it-IT" sz="1600" kern="0" dirty="0" smtClean="0"/>
              <a:t>con le credenziali Entratel o </a:t>
            </a:r>
            <a:r>
              <a:rPr lang="it-IT" sz="1600" kern="0" dirty="0" smtClean="0"/>
              <a:t>Fisconline</a:t>
            </a:r>
            <a:endParaRPr lang="it-IT" sz="1600" kern="0" dirty="0" smtClean="0"/>
          </a:p>
          <a:p>
            <a:pPr marL="0" indent="0" algn="just">
              <a:buClr>
                <a:srgbClr val="FF9933"/>
              </a:buClr>
              <a:defRPr/>
            </a:pPr>
            <a:endParaRPr lang="it-IT" sz="1600" kern="0" dirty="0" smtClean="0"/>
          </a:p>
          <a:p>
            <a:pPr marL="0" indent="0" algn="just">
              <a:buClr>
                <a:srgbClr val="FF9933"/>
              </a:buClr>
              <a:defRPr/>
            </a:pPr>
            <a:endParaRPr lang="it-IT" sz="1000" b="1" kern="0" dirty="0" smtClean="0"/>
          </a:p>
          <a:p>
            <a:pPr marL="0" indent="0" algn="just">
              <a:buClr>
                <a:srgbClr val="FF9933"/>
              </a:buClr>
              <a:defRPr/>
            </a:pPr>
            <a:r>
              <a:rPr lang="it-IT" sz="1600" b="1" kern="0" dirty="0" smtClean="0"/>
              <a:t>anonima e facoltativa </a:t>
            </a:r>
            <a:r>
              <a:rPr lang="it-IT" sz="1600" kern="0" dirty="0" smtClean="0"/>
              <a:t>con adesione in fase di compilazione</a:t>
            </a:r>
          </a:p>
          <a:p>
            <a:pPr marL="0" indent="0" algn="just">
              <a:buClr>
                <a:srgbClr val="FF9933"/>
              </a:buClr>
              <a:defRPr/>
            </a:pPr>
            <a:endParaRPr lang="it-IT" sz="1200" kern="0" dirty="0" smtClean="0"/>
          </a:p>
          <a:p>
            <a:pPr marL="0" indent="0" algn="just">
              <a:buClr>
                <a:srgbClr val="FF9933"/>
              </a:buClr>
              <a:defRPr/>
            </a:pPr>
            <a:r>
              <a:rPr lang="it-IT" sz="1600" kern="0" dirty="0" smtClean="0"/>
              <a:t>margine di errore non superiore al 2% ad un livello di fiducia del 95%</a:t>
            </a:r>
            <a:endParaRPr lang="it-IT" sz="1600" b="1" kern="0" dirty="0" smtClean="0"/>
          </a:p>
          <a:p>
            <a:pPr marL="0" algn="just">
              <a:lnSpc>
                <a:spcPct val="150000"/>
              </a:lnSpc>
              <a:buClr>
                <a:srgbClr val="FF9933"/>
              </a:buClr>
              <a:defRPr/>
            </a:pPr>
            <a:endParaRPr lang="it-IT" sz="1000" kern="0" dirty="0" smtClean="0"/>
          </a:p>
        </p:txBody>
      </p:sp>
      <p:sp>
        <p:nvSpPr>
          <p:cNvPr id="14340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3375"/>
            <a:ext cx="9344025" cy="647700"/>
          </a:xfrm>
        </p:spPr>
        <p:txBody>
          <a:bodyPr/>
          <a:lstStyle/>
          <a:p>
            <a:r>
              <a:rPr lang="en-US" altLang="it-IT" sz="2400" smtClean="0"/>
              <a:t>METODOLOGIA: MODALITÀ E TEMPI</a:t>
            </a:r>
          </a:p>
        </p:txBody>
      </p:sp>
      <p:sp>
        <p:nvSpPr>
          <p:cNvPr id="14341" name="CasellaDiTesto 6"/>
          <p:cNvSpPr txBox="1">
            <a:spLocks noChangeArrowheads="1"/>
          </p:cNvSpPr>
          <p:nvPr/>
        </p:nvSpPr>
        <p:spPr bwMode="auto">
          <a:xfrm>
            <a:off x="273050" y="6381750"/>
            <a:ext cx="374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200" b="1">
                <a:solidFill>
                  <a:srgbClr val="E3600F"/>
                </a:solidFill>
              </a:rPr>
              <a:t>Direzione Centrale Servizi ai Contribuenti </a:t>
            </a:r>
          </a:p>
        </p:txBody>
      </p:sp>
      <p:sp>
        <p:nvSpPr>
          <p:cNvPr id="14342" name="Segnaposto numero diapositiva 3"/>
          <p:cNvSpPr txBox="1">
            <a:spLocks/>
          </p:cNvSpPr>
          <p:nvPr/>
        </p:nvSpPr>
        <p:spPr bwMode="auto">
          <a:xfrm>
            <a:off x="4519613" y="6599238"/>
            <a:ext cx="865187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fld id="{02F4A700-BC44-40A1-A647-96E228B7F8B3}" type="slidenum">
              <a:rPr lang="it-IT" altLang="it-IT" sz="1000">
                <a:solidFill>
                  <a:srgbClr val="073C62"/>
                </a:solidFill>
                <a:latin typeface="Verdana" pitchFamily="34" charset="0"/>
              </a:rPr>
              <a:pPr algn="ctr" eaLnBrk="1" hangingPunct="1"/>
              <a:t>3</a:t>
            </a:fld>
            <a:endParaRPr lang="it-IT" altLang="it-IT" sz="1000">
              <a:solidFill>
                <a:srgbClr val="073C62"/>
              </a:solidFill>
              <a:latin typeface="Verdana" pitchFamily="34" charset="0"/>
            </a:endParaRPr>
          </a:p>
        </p:txBody>
      </p:sp>
      <p:sp>
        <p:nvSpPr>
          <p:cNvPr id="9" name="Pentagono 8"/>
          <p:cNvSpPr/>
          <p:nvPr/>
        </p:nvSpPr>
        <p:spPr bwMode="auto">
          <a:xfrm>
            <a:off x="358775" y="1260475"/>
            <a:ext cx="2189163" cy="296863"/>
          </a:xfrm>
          <a:prstGeom prst="homePlate">
            <a:avLst/>
          </a:prstGeom>
          <a:solidFill>
            <a:srgbClr val="0F407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80962" tIns="39688" rIns="80962" bIns="39688">
            <a:spAutoFit/>
          </a:bodyPr>
          <a:lstStyle/>
          <a:p>
            <a:pPr>
              <a:defRPr/>
            </a:pPr>
            <a:r>
              <a:rPr lang="it-IT" sz="1400" b="1" dirty="0">
                <a:solidFill>
                  <a:schemeClr val="lt1"/>
                </a:solidFill>
                <a:latin typeface="+mn-lt"/>
              </a:rPr>
              <a:t>Metodologia</a:t>
            </a:r>
          </a:p>
        </p:txBody>
      </p:sp>
      <p:sp>
        <p:nvSpPr>
          <p:cNvPr id="10" name="Pentagono 9"/>
          <p:cNvSpPr/>
          <p:nvPr/>
        </p:nvSpPr>
        <p:spPr bwMode="auto">
          <a:xfrm>
            <a:off x="344488" y="2009775"/>
            <a:ext cx="2339975" cy="295275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rgbClr val="0F407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80962" tIns="39688" rIns="80962" bIns="39688">
            <a:spAutoFit/>
          </a:bodyPr>
          <a:lstStyle/>
          <a:p>
            <a:pPr>
              <a:defRPr/>
            </a:pPr>
            <a:r>
              <a:rPr lang="it-IT" sz="1400" b="1" dirty="0">
                <a:solidFill>
                  <a:srgbClr val="0F407B"/>
                </a:solidFill>
                <a:latin typeface="+mn-lt"/>
              </a:rPr>
              <a:t>Campione</a:t>
            </a:r>
          </a:p>
        </p:txBody>
      </p:sp>
      <p:sp>
        <p:nvSpPr>
          <p:cNvPr id="11" name="Pentagono 10"/>
          <p:cNvSpPr/>
          <p:nvPr/>
        </p:nvSpPr>
        <p:spPr bwMode="auto">
          <a:xfrm>
            <a:off x="344488" y="2844800"/>
            <a:ext cx="2339975" cy="295275"/>
          </a:xfrm>
          <a:prstGeom prst="homePlate">
            <a:avLst/>
          </a:prstGeom>
          <a:solidFill>
            <a:srgbClr val="0F407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80962" tIns="39688" rIns="80962" bIns="39688">
            <a:spAutoFit/>
          </a:bodyPr>
          <a:lstStyle/>
          <a:p>
            <a:pPr>
              <a:defRPr/>
            </a:pPr>
            <a:r>
              <a:rPr lang="it-IT" sz="1400" b="1" dirty="0">
                <a:solidFill>
                  <a:schemeClr val="lt1"/>
                </a:solidFill>
                <a:latin typeface="+mn-lt"/>
              </a:rPr>
              <a:t>Periodo rilevazione</a:t>
            </a:r>
          </a:p>
        </p:txBody>
      </p:sp>
      <p:sp>
        <p:nvSpPr>
          <p:cNvPr id="12" name="Pentagono 11"/>
          <p:cNvSpPr/>
          <p:nvPr/>
        </p:nvSpPr>
        <p:spPr bwMode="auto">
          <a:xfrm>
            <a:off x="358775" y="3573463"/>
            <a:ext cx="2468563" cy="511175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rgbClr val="0F407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80962" tIns="39688" rIns="80962" bIns="39688">
            <a:spAutoFit/>
          </a:bodyPr>
          <a:lstStyle/>
          <a:p>
            <a:pPr>
              <a:defRPr/>
            </a:pPr>
            <a:r>
              <a:rPr lang="it-IT" sz="1400" b="1" dirty="0">
                <a:solidFill>
                  <a:srgbClr val="0F407B"/>
                </a:solidFill>
                <a:latin typeface="+mn-lt"/>
              </a:rPr>
              <a:t>Accesso al questionario</a:t>
            </a:r>
          </a:p>
        </p:txBody>
      </p:sp>
      <p:sp>
        <p:nvSpPr>
          <p:cNvPr id="13" name="Pentagono 12"/>
          <p:cNvSpPr/>
          <p:nvPr/>
        </p:nvSpPr>
        <p:spPr bwMode="auto">
          <a:xfrm>
            <a:off x="358775" y="4502150"/>
            <a:ext cx="2339975" cy="295275"/>
          </a:xfrm>
          <a:prstGeom prst="homePlate">
            <a:avLst/>
          </a:prstGeom>
          <a:solidFill>
            <a:srgbClr val="0F407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80962" tIns="39688" rIns="80962" bIns="39688">
            <a:spAutoFit/>
          </a:bodyPr>
          <a:lstStyle/>
          <a:p>
            <a:pPr>
              <a:defRPr/>
            </a:pPr>
            <a:r>
              <a:rPr lang="it-IT" sz="1400" b="1" dirty="0">
                <a:solidFill>
                  <a:schemeClr val="lt1"/>
                </a:solidFill>
                <a:latin typeface="+mn-lt"/>
              </a:rPr>
              <a:t>Partecipazione</a:t>
            </a:r>
            <a:endParaRPr lang="it-IT" sz="1200" b="1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Pentagono 13"/>
          <p:cNvSpPr/>
          <p:nvPr/>
        </p:nvSpPr>
        <p:spPr bwMode="auto">
          <a:xfrm>
            <a:off x="358775" y="5221288"/>
            <a:ext cx="2468563" cy="511175"/>
          </a:xfrm>
          <a:prstGeom prst="homePlate">
            <a:avLst/>
          </a:prstGeom>
          <a:solidFill>
            <a:schemeClr val="bg1"/>
          </a:solidFill>
          <a:ln w="9525" cap="flat" cmpd="sng" algn="ctr">
            <a:solidFill>
              <a:srgbClr val="0F407B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80962" tIns="39688" rIns="80962" bIns="39688">
            <a:spAutoFit/>
          </a:bodyPr>
          <a:lstStyle/>
          <a:p>
            <a:pPr>
              <a:defRPr/>
            </a:pPr>
            <a:r>
              <a:rPr lang="it-IT" sz="1400" b="1" dirty="0">
                <a:solidFill>
                  <a:srgbClr val="0F407B"/>
                </a:solidFill>
                <a:latin typeface="+mn-lt"/>
              </a:rPr>
              <a:t>Significatività statistica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395288" y="1304925"/>
            <a:ext cx="8915400" cy="4645025"/>
          </a:xfrm>
        </p:spPr>
        <p:txBody>
          <a:bodyPr/>
          <a:lstStyle/>
          <a:p>
            <a:pPr marL="0" indent="0" algn="just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600" dirty="0" smtClean="0"/>
              <a:t>Per misurare le valutazioni degli utenti è stata utilizzata la scala </a:t>
            </a:r>
            <a:r>
              <a:rPr lang="it-IT" sz="1600" dirty="0" err="1" smtClean="0"/>
              <a:t>Likert</a:t>
            </a:r>
            <a:r>
              <a:rPr lang="it-IT" sz="1600" dirty="0" smtClean="0"/>
              <a:t> a 6 punti dove </a:t>
            </a:r>
            <a:r>
              <a:rPr lang="it-IT" sz="1600" b="1" dirty="0" smtClean="0"/>
              <a:t>1 </a:t>
            </a:r>
            <a:r>
              <a:rPr lang="it-IT" sz="1600" dirty="0" smtClean="0"/>
              <a:t>indica «</a:t>
            </a:r>
            <a:r>
              <a:rPr lang="it-IT" sz="1600" b="1" dirty="0" smtClean="0"/>
              <a:t>Per niente soddisfatto</a:t>
            </a:r>
            <a:r>
              <a:rPr lang="it-IT" sz="1600" dirty="0" smtClean="0"/>
              <a:t>» e </a:t>
            </a:r>
            <a:r>
              <a:rPr lang="it-IT" sz="1600" b="1" dirty="0" smtClean="0"/>
              <a:t>6 </a:t>
            </a:r>
            <a:r>
              <a:rPr lang="it-IT" sz="1600" dirty="0" smtClean="0"/>
              <a:t>«</a:t>
            </a:r>
            <a:r>
              <a:rPr lang="it-IT" sz="1600" b="1" dirty="0" smtClean="0"/>
              <a:t>Totalmente soddisfatto</a:t>
            </a:r>
            <a:r>
              <a:rPr lang="it-IT" sz="1600" dirty="0" smtClean="0"/>
              <a:t>».</a:t>
            </a:r>
          </a:p>
          <a:p>
            <a:pPr marL="0" indent="0" algn="just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600" dirty="0" smtClean="0"/>
              <a:t>I punteggi della scala sono stati accorpati in tre classi: 1-2, 3-4 e 5-6 per ricondurli ai </a:t>
            </a:r>
            <a:r>
              <a:rPr lang="it-IT" sz="1600" b="1" dirty="0" smtClean="0"/>
              <a:t>3 Emoticon </a:t>
            </a:r>
            <a:r>
              <a:rPr lang="it-IT" sz="1600" dirty="0" smtClean="0"/>
              <a:t>che consentono di visualizzare in modo immediato il grado di gradimento o meno dell’utente.</a:t>
            </a:r>
          </a:p>
          <a:p>
            <a:pPr marL="0" algn="just">
              <a:lnSpc>
                <a:spcPct val="150000"/>
              </a:lnSpc>
              <a:buClr>
                <a:srgbClr val="FF9933"/>
              </a:buClr>
              <a:defRPr/>
            </a:pPr>
            <a:endParaRPr lang="it-IT" sz="1600" b="1" dirty="0" smtClean="0"/>
          </a:p>
          <a:p>
            <a:pPr marL="0" algn="just">
              <a:lnSpc>
                <a:spcPct val="150000"/>
              </a:lnSpc>
              <a:buClr>
                <a:srgbClr val="FF9933"/>
              </a:buClr>
              <a:defRPr/>
            </a:pPr>
            <a:endParaRPr lang="it-IT" sz="1600" b="1" dirty="0" smtClean="0"/>
          </a:p>
          <a:p>
            <a:pPr marL="0" algn="just">
              <a:lnSpc>
                <a:spcPct val="150000"/>
              </a:lnSpc>
              <a:buClr>
                <a:srgbClr val="FF9933"/>
              </a:buClr>
              <a:defRPr/>
            </a:pPr>
            <a:endParaRPr lang="it-IT" sz="1600" dirty="0" smtClean="0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3375"/>
            <a:ext cx="9344025" cy="647700"/>
          </a:xfrm>
        </p:spPr>
        <p:txBody>
          <a:bodyPr/>
          <a:lstStyle/>
          <a:p>
            <a:r>
              <a:rPr lang="en-US" altLang="it-IT" sz="2400" smtClean="0"/>
              <a:t>METODOLOGIA: LA SCALA IMPIEGATA</a:t>
            </a:r>
          </a:p>
        </p:txBody>
      </p:sp>
      <p:sp>
        <p:nvSpPr>
          <p:cNvPr id="15364" name="CasellaDiTesto 1"/>
          <p:cNvSpPr txBox="1">
            <a:spLocks noChangeArrowheads="1"/>
          </p:cNvSpPr>
          <p:nvPr/>
        </p:nvSpPr>
        <p:spPr bwMode="auto">
          <a:xfrm>
            <a:off x="273050" y="6381750"/>
            <a:ext cx="374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200" b="1">
                <a:solidFill>
                  <a:srgbClr val="E3600F"/>
                </a:solidFill>
              </a:rPr>
              <a:t>Direzione Centrale Servizi ai Contribuenti </a:t>
            </a: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A6CA654-5706-4C71-85E2-E7A70E72A248}" type="slidenum">
              <a:rPr lang="it-IT" smtClean="0"/>
              <a:pPr>
                <a:defRPr/>
              </a:pPr>
              <a:t>4</a:t>
            </a:fld>
            <a:endParaRPr lang="it-IT"/>
          </a:p>
        </p:txBody>
      </p:sp>
      <p:graphicFrame>
        <p:nvGraphicFramePr>
          <p:cNvPr id="3" name="Tabella 2"/>
          <p:cNvGraphicFramePr>
            <a:graphicFrameLocks noGrp="1"/>
          </p:cNvGraphicFramePr>
          <p:nvPr/>
        </p:nvGraphicFramePr>
        <p:xfrm>
          <a:off x="1497013" y="3716338"/>
          <a:ext cx="6603999" cy="1947861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2201333"/>
                <a:gridCol w="2201333"/>
                <a:gridCol w="2201333"/>
              </a:tblGrid>
              <a:tr h="370952">
                <a:tc>
                  <a:txBody>
                    <a:bodyPr/>
                    <a:lstStyle/>
                    <a:p>
                      <a:pPr algn="ctr"/>
                      <a:r>
                        <a:rPr lang="it-IT" sz="1800" dirty="0" smtClean="0"/>
                        <a:t>CLASSI</a:t>
                      </a:r>
                      <a:endParaRPr lang="it-IT" sz="1800" dirty="0"/>
                    </a:p>
                  </a:txBody>
                  <a:tcPr marT="45734" marB="45734">
                    <a:solidFill>
                      <a:srgbClr val="0F40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dirty="0" smtClean="0"/>
                        <a:t>EMOTICON</a:t>
                      </a:r>
                      <a:endParaRPr lang="it-IT" sz="1800" dirty="0"/>
                    </a:p>
                  </a:txBody>
                  <a:tcPr marT="45734" marB="45734">
                    <a:solidFill>
                      <a:srgbClr val="0F40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dirty="0" smtClean="0"/>
                        <a:t>GIUDIZIO</a:t>
                      </a:r>
                    </a:p>
                  </a:txBody>
                  <a:tcPr marT="45734" marB="45734">
                    <a:solidFill>
                      <a:srgbClr val="0F407B"/>
                    </a:solidFill>
                  </a:tcPr>
                </a:tc>
              </a:tr>
              <a:tr h="493405"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1-2</a:t>
                      </a:r>
                    </a:p>
                  </a:txBody>
                  <a:tcPr marT="45734" marB="45734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6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34" marB="45734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Negativo</a:t>
                      </a:r>
                    </a:p>
                  </a:txBody>
                  <a:tcPr marT="45734" marB="45734">
                    <a:solidFill>
                      <a:schemeClr val="bg1"/>
                    </a:solidFill>
                  </a:tcPr>
                </a:tc>
              </a:tr>
              <a:tr h="504209"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3-4</a:t>
                      </a:r>
                    </a:p>
                  </a:txBody>
                  <a:tcPr marT="45734" marB="45734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6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34" marB="45734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Medio/sufficiente</a:t>
                      </a:r>
                    </a:p>
                  </a:txBody>
                  <a:tcPr marT="45734" marB="45734">
                    <a:solidFill>
                      <a:schemeClr val="bg1"/>
                    </a:solidFill>
                  </a:tcPr>
                </a:tc>
              </a:tr>
              <a:tr h="579295"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5-6</a:t>
                      </a:r>
                      <a:endParaRPr lang="it-IT" sz="16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34" marB="45734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6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34" marB="45734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Positivo</a:t>
                      </a:r>
                    </a:p>
                    <a:p>
                      <a:pPr algn="ctr"/>
                      <a:endParaRPr lang="it-IT" sz="1600" dirty="0" smtClean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34" marB="45734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5386" name="AutoShape 2" descr="data:image/jpeg;base64,/9j/4AAQSkZJRgABAQAAAQABAAD/2wCEAAkGBxAPERUUEBAVFhQXGBIWGBYVGBQVFBQYFBQXFhUUFBQYHyogGBolHBUVITIhJSkrLi4uFx8zODMsNygtLisBCgoKDg0OGxAQGywkHyQsLCwvLC0sLCwrLSwsLCwsLCwsLCwsLCwsLCwsLCwsLCwsLCwsLCwsLCwsLCssLCwsLP/AABEIADwBLAMBEQACEQEDEQH/xAAbAAABBQEBAAAAAAAAAAAAAAAAAQIDBAUGB//EAD0QAAECAwIKBwYHAAMBAAAAAAEAAgMEEQUxEiEiQVFhcoGRsQYyU3GhstIHEzSDwtEUIyQzQkRSQ5LBFf/EABsBAQACAwEBAAAAAAAAAAAAAAABBAIDBQYH/8QAKxEBAAICAQQCAQQBBQEAAAAAAAECAxEEBRIhMRNRFCIjMkFhQnGBkaEV/9oADAMBAAIRAxEAPwD2oxCTRoGK8m4aO9A/K1eKAytXigMrV4oDK1eKAytXigMrV4oEOHmwfFA2DHDiWnE4AEi/Ebj3IJ0AgEAgEEIiFxOCBQYqnTqCB9HaRwP3QFHaRwP3QFHaRwP3QFHaRwP3QFHaRwP3QFHaRwP3QI7CzUOrGPFA2Xjh9RnbicM4KCZAIBAIBAyI8NFSgYwvN4A1Y670DsrV4oDK1eKAytXigMrV4oDK1eKAytXigjixHMGE4DBAqaVqKXmmdBM1wOdBFA6z9oeUIJ0DcJCPJr4zWipIA1kAIjuiPavDtWXccER4RdoD2E8KqNww+an3C014NylnExPo5EhBkf3vlfUg10AgEAgEEEpcdp3NBOgSqjf2IoswxnWcAq+Xm4MU6veIZ1x2t6hF/wDRhf7HiqsdY4czrvhl8F/pNCjtd1XAq7i5GLL/AAttrmsx7SVW5BSgx7O+KmPlcig2AgEAgEAghm+rvb5ggmQJVAmEgz523ZWAaRpmEw6HPaDwrVRNohvx8bNk9Vkkp0gk4xpCmYTjoa9hPCtVHdBfjZafyrLSDlkrlRKGb/bfsu5FBWsP4eFsN5ILMDrP2h5QglKDkOmPS38KfdQQDFIxk42sB0jOdSwvbTl87qHw/pr7eaT9oxYxLo0Rz6/6OLcLgq8zNpcGZy8i/tVJbQVIp4KY3trjFkm81rE7h0cl0lfKsZ7hxwh1gamGRS6hN+sUWXfqV6vMthiI/t6bYFtQ5yFhsvGJzTe06Fvidu/xuTXNXcNRSsyyf73yvqQa6AQCAQBQQStx2nc0EyDKtKeIOCw4850al5brHV5x/s4/f2t4MO/MsK0J5kFhiRXUAz4ySTcAF5nFjz8zJqPMrlppjjyqOtuXEERsPIJpccKuduDpxLbHTc85fj7fKPnpppSloMiw2vhGoOe44sRGrGrmTlX48fDHi0NdK1v5bdmzuHid1uYXoejdT/KpNMk/qj/1Vz4e2dw0Cu6rsmzvipjuhcig1wgEAgEAghmurvb5gglCCOPGDAXOIAAJJOIADGSSoTWs2tqPbyHpT04jTTi2A4woOrE+JrJ/iNSr5Mm/T2fTuiUx1783mXJE48d/E8Vpisy6VuVhxZPi3/wtWbHZDiAvuGqqdswr8rk4bT8P9uqsbp06BHoa/hjQYJxuZpc06NS2UyaUOR0OL4pmP5Q9Xl47YjWuYQWuAIIzgq1E78vJWrNZmLexN/tv2XcipYq1hfDwthvJBYgdZ+0PKECTsYQ4bnm5rXO/6glGN7dtZl4PMzDor3RHmrnEknWdGpVJnbxWTJOS+5V4sPCCVtpu4nIjBk7pgx8vVoANyz71nDz60y2tMe0zW0FFrmdyoZL/ACXm0Os9m88Yc3gfxiNIPe3GD4lbcc+dOh0nLrL2fb1cLe9Oyf73yvqQa6AQCAQBQQStx2nc0ExUT6HLRHVJJzkr5byrzbNaZ97dnHGqqVqWeyZhlj6gGhBF4IzrZw+Zfi5O6iL074Zz+jMEwGwsJwo4uwsVSSKGouuV3/7GWuacsRHlh8Ea01ZCUZAhthsuGnGSTeSudys9uRkm9vbZWkVjS9IupEb3q50e8xy6RH2wzx+3LpF9GhyWRZ3xcx3QuRUjYQCAQCAQQzXV3t8wQSoON9qk66FKNY00968MPcGlx8tN61ZZ1V2uh4Iycjc/6Y28iVSJe416JrWe5czP0+l83y7FMdU3KI6binN8252VYOpuLe/D172XzzosnguNTCeWDuoCOatYZ3Dw3XMUY+T3R/fl1c1+2/ZdyK3OKgsP4eFsN5IlYgdZ+0PKECzUIPY5pucC09xFEY3r3VmHg83JvgPdDiCjmEtO7OO+9VZjTxeXHOLJqyo5zx/DCGogHgU1GmymPHf+VtSZ+IcboT94A/8AU7WX49I8zdIwPN+LVeeKnTXeuOP4uv8AZvIuiTXvKZMNtSdbqgDmssVZ3te6Vimcnf8AT1db3pmT/e+V9SDXQCAQCAQQStx2nc0EySOdnpctecWIkkb1896twL4s9piPEunx8m6qc02LgH3QaX5g8kN3kAkKni43695Int/w2zb6ZYNp54UrTP8AmRa66ZGNX54nC1Ou5qib7bJYdC5c8a3mdN0WhcsyWLn1IxDmu50PgW+WMkx6VuRljWm6vbueyLO+LmO6FyKDYQCAQCAQQzXV3t8wQShByvtHsp0zKHAFXQnCIBpoCHAbiVryxurq9H5MYOTG/U+JePfh3m4fZU4mHs82SdR2mGQeby7jTwCy+SFSeNW/m97f9lbIvF2FxqFHfEleN2eaZJ/2n0eJZ+cLHuhex5t1/cl6/wCzizHS8mC8UdEcX01HE3wCuYY1DxXWeRGbkTr1Hh003+2/ZdyK2uSr2H8PC2G8kFiB1n7Q8oQSuCDmOlXRyHH/ADRQRAMdcQeBmJFx1qLViXP5fCrk/U5SFY8Imhc1rhmdQb9aw7XO/EpvynPR1gHWZTWQmmf4WP34QssaE52C1zTpOYbxiO5TFWNeFjmzv7BsyFLQg2EL8ZNMbjpKziNOxx+PTFXVWkixLJ/vfK+pBroBAIBAIIJW47TuaCdBWnYYLcYr3Xqvm49M0atDKt5r6ZIIzghcm3Epjntn03/JMn4LdKj4MKe6TDTM0lZV4lbTGo8I+WYbEqwNaKCi7GPHTHGqw0WtNp2mK2sWTZ3xUx3QuRQa4QCAQCAQQzXV3t8wQSoEcEI/w4S3ej0KE+sIUab2f51sOjUdyrZcX07PF6heY7LSzYNmQnXPG84J4Faexd/LyR9nRLKhNviN3EE8Ap7EfnXnxMaXrDsKFEeC8VaM1Ot36AtuPFCtyufaK6rLvYbAAABQC4aFZ1pw5mZ8yjm/237LuRQV7D+HhbDeSCeCcp/ePKPsgnQNc0G8IKUeyID+tDCjTVOGk+4Vx0clOybwTTH8bH9LUCyoDOrDCaZ1xVr6XA0BS2aKgx6/rvlfUg2EAgEAgQoIZW47TuaCdAlEDTDboCwmlZ9wnZPct0BR8VPqDcnBgFwWVaxX0bOWSCFBkWaf1Ux8rkUGuECoBAIBBDNdXe3zBBKCgVBHEgtd1gD3qNJidKkSyIDr4TTuWPZDbGfJH9yRljS7boTeCdkE8jJPuVuFLsb1WgdwWcRpqtM2ncpQEQhnD+W/ZdyKCtYh/TwthvJBNMw84JacQqKYxrqEEQD+0dwZ6UC0f2juDPSgTL7R3BnpQFH9o7gz0oFo/tHcGelAUf2juDPSgSj+1dwZ6UDLPkGse6IXOc92LCeQaDQKAABBooBAIBAhQVpiGa1a5zSb6Uoe8EFBDl9q7gz0oDL7V3BnpQGX2ruDPSgMvtXcGelAZfau4M9KAy+1dwZ6UCEPP/K/gz0oH2bItggkFznONXOcauO9BeQCAQCAQNeARQ3IKeA4EgRHAZhkmm8iqBaP7R3BnpQFH9o7gz0oEy+0dwZ6UBR/aO4M9KBaP7R3BnpQFH9o7gz0oK07KmK3BdFfTOBgCuo0ag04UINaGtFAAABqCD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it-IT" altLang="it-IT"/>
          </a:p>
        </p:txBody>
      </p:sp>
      <p:pic>
        <p:nvPicPr>
          <p:cNvPr id="153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9625" y="5172075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88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9625" y="4638675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89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9625" y="4149725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395288" y="1304925"/>
            <a:ext cx="8915400" cy="4645025"/>
          </a:xfrm>
        </p:spPr>
        <p:txBody>
          <a:bodyPr/>
          <a:lstStyle/>
          <a:p>
            <a:pPr marL="0" indent="0" algn="just">
              <a:lnSpc>
                <a:spcPct val="150000"/>
              </a:lnSpc>
              <a:buClr>
                <a:srgbClr val="FF9933"/>
              </a:buClr>
            </a:pPr>
            <a:r>
              <a:rPr lang="it-IT" altLang="it-IT" sz="1600" smtClean="0"/>
              <a:t>Tale calcolo dà origine alla seguente </a:t>
            </a:r>
            <a:r>
              <a:rPr lang="it-IT" altLang="it-IT" sz="1600" b="1" smtClean="0"/>
              <a:t>scala di equivalenza</a:t>
            </a:r>
            <a:r>
              <a:rPr lang="it-IT" altLang="it-IT" sz="1600" smtClean="0"/>
              <a:t> tra le valutazioni su scala Likert, gli emoticon e l’indice di soddisfazione.</a:t>
            </a:r>
            <a:r>
              <a:rPr lang="it-IT" altLang="it-IT" sz="1500" smtClean="0"/>
              <a:t>	</a:t>
            </a:r>
            <a:r>
              <a:rPr lang="it-IT" altLang="it-IT" sz="1400" smtClean="0"/>
              <a:t>	    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3375"/>
            <a:ext cx="9344025" cy="647700"/>
          </a:xfrm>
        </p:spPr>
        <p:txBody>
          <a:bodyPr/>
          <a:lstStyle/>
          <a:p>
            <a:r>
              <a:rPr lang="en-US" altLang="it-IT" sz="2400" smtClean="0"/>
              <a:t>METODOLOGIA: SCALA EQUIVALENZA INDICI</a:t>
            </a:r>
          </a:p>
        </p:txBody>
      </p:sp>
      <p:sp>
        <p:nvSpPr>
          <p:cNvPr id="16388" name="CasellaDiTesto 1"/>
          <p:cNvSpPr txBox="1">
            <a:spLocks noChangeArrowheads="1"/>
          </p:cNvSpPr>
          <p:nvPr/>
        </p:nvSpPr>
        <p:spPr bwMode="auto">
          <a:xfrm>
            <a:off x="273050" y="6381750"/>
            <a:ext cx="374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200" b="1">
                <a:solidFill>
                  <a:srgbClr val="E3600F"/>
                </a:solidFill>
              </a:rPr>
              <a:t>Direzione Centrale Servizi ai Contribuenti </a:t>
            </a: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90AC95-51D1-4F0F-AE5A-375FBD90CE8D}" type="slidenum">
              <a:rPr lang="it-IT" smtClean="0"/>
              <a:pPr>
                <a:defRPr/>
              </a:pPr>
              <a:t>5</a:t>
            </a:fld>
            <a:endParaRPr lang="it-IT"/>
          </a:p>
        </p:txBody>
      </p:sp>
      <p:graphicFrame>
        <p:nvGraphicFramePr>
          <p:cNvPr id="3" name="Tabella 2"/>
          <p:cNvGraphicFramePr>
            <a:graphicFrameLocks noGrp="1"/>
          </p:cNvGraphicFramePr>
          <p:nvPr/>
        </p:nvGraphicFramePr>
        <p:xfrm>
          <a:off x="488950" y="2420938"/>
          <a:ext cx="8342313" cy="3529014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2780771"/>
                <a:gridCol w="2767914"/>
                <a:gridCol w="2793628"/>
              </a:tblGrid>
              <a:tr h="778134"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/>
                        <a:t>CLASSI</a:t>
                      </a:r>
                    </a:p>
                    <a:p>
                      <a:pPr algn="ctr"/>
                      <a:r>
                        <a:rPr lang="it-IT" sz="1400" b="0" dirty="0" smtClean="0"/>
                        <a:t>(scala</a:t>
                      </a:r>
                      <a:r>
                        <a:rPr lang="it-IT" sz="1400" b="0" baseline="0" dirty="0" smtClean="0"/>
                        <a:t> </a:t>
                      </a:r>
                      <a:r>
                        <a:rPr lang="it-IT" sz="1400" b="0" baseline="0" dirty="0" err="1" smtClean="0"/>
                        <a:t>likert</a:t>
                      </a:r>
                      <a:r>
                        <a:rPr lang="it-IT" sz="1400" b="0" baseline="0" dirty="0" smtClean="0"/>
                        <a:t>)</a:t>
                      </a:r>
                      <a:endParaRPr lang="it-IT" sz="1400" b="0" dirty="0"/>
                    </a:p>
                  </a:txBody>
                  <a:tcPr marL="91437" marR="91437" marT="45728" marB="45728" anchor="ctr">
                    <a:solidFill>
                      <a:srgbClr val="0F40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/>
                        <a:t>Indice</a:t>
                      </a:r>
                      <a:r>
                        <a:rPr lang="it-IT" sz="1600" baseline="0" dirty="0" smtClean="0"/>
                        <a:t> </a:t>
                      </a:r>
                      <a:r>
                        <a:rPr lang="it-IT" sz="1600" dirty="0" smtClean="0"/>
                        <a:t>soddisfazione</a:t>
                      </a:r>
                      <a:endParaRPr lang="it-IT" sz="1600" dirty="0"/>
                    </a:p>
                  </a:txBody>
                  <a:tcPr marL="91437" marR="91437" marT="45728" marB="45728" anchor="ctr">
                    <a:solidFill>
                      <a:srgbClr val="0F40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/>
                        <a:t>GIUDIZIO</a:t>
                      </a:r>
                    </a:p>
                  </a:txBody>
                  <a:tcPr marL="91437" marR="91437" marT="45728" marB="45728" anchor="ctr">
                    <a:solidFill>
                      <a:srgbClr val="0F407B"/>
                    </a:solidFill>
                  </a:tcPr>
                </a:tc>
              </a:tr>
              <a:tr h="45848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(per niente soddisfatto) </a:t>
                      </a:r>
                    </a:p>
                  </a:txBody>
                  <a:tcPr marL="35999" marR="91437" marT="36006" marB="4572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it-IT" sz="14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9" marR="91437" marT="36006" marB="45728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Negativo</a:t>
                      </a:r>
                    </a:p>
                  </a:txBody>
                  <a:tcPr marL="35999" marR="91437" marT="36006" marB="45728" anchor="ctr">
                    <a:solidFill>
                      <a:schemeClr val="bg1"/>
                    </a:solidFill>
                  </a:tcPr>
                </a:tc>
              </a:tr>
              <a:tr h="458480"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35999" marR="91437" marT="36006" marB="4572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lang="it-IT" sz="14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9" marR="91437" marT="36006" marB="45728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it-IT" sz="1600" dirty="0" smtClean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458480"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it-IT" sz="14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9" marR="91437" marT="36006" marB="4572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  <a:endParaRPr lang="it-IT" sz="14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9" marR="91437" marT="36006" marB="45728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Medio/sufficiente</a:t>
                      </a:r>
                    </a:p>
                  </a:txBody>
                  <a:tcPr marL="35999" marR="91437" marT="36006" marB="45728" anchor="ctr">
                    <a:solidFill>
                      <a:schemeClr val="bg1"/>
                    </a:solidFill>
                  </a:tcPr>
                </a:tc>
              </a:tr>
              <a:tr h="458480"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it-IT" sz="14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9" marR="91437" marT="36006" marB="4572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  <a:endParaRPr lang="it-IT" sz="14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9" marR="91437" marT="36006" marB="45728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it-IT" sz="1600" dirty="0" smtClean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458480"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it-IT" sz="14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9" marR="91437" marT="36006" marB="4572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80</a:t>
                      </a:r>
                      <a:endParaRPr lang="it-IT" sz="14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9" marR="91437" marT="36006" marB="45728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Positivo</a:t>
                      </a:r>
                    </a:p>
                  </a:txBody>
                  <a:tcPr marL="35999" marR="91437" marT="36006" marB="45728" anchor="ctr">
                    <a:solidFill>
                      <a:schemeClr val="bg1"/>
                    </a:solidFill>
                  </a:tcPr>
                </a:tc>
              </a:tr>
              <a:tr h="45848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6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(totalmente</a:t>
                      </a:r>
                      <a:r>
                        <a:rPr lang="it-IT" sz="1000" baseline="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 soddisfatto) </a:t>
                      </a:r>
                      <a:endParaRPr lang="it-IT" sz="1000" dirty="0" smtClean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9" marR="91437" marT="36006" marB="4572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it-IT" sz="14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5999" marR="91437" marT="36006" marB="45728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600" dirty="0" smtClean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6419" name="AutoShape 2" descr="data:image/jpeg;base64,/9j/4AAQSkZJRgABAQAAAQABAAD/2wCEAAkGBxAPERUUEBAVFhQXGBIWGBYVGBQVFBQYFBQXFhUUFBQYHyogGBolHBUVITIhJSkrLi4uFx8zODMsNygtLisBCgoKDg0OGxAQGywkHyQsLCwvLC0sLCwrLSwsLCwsLCwsLCwsLCwsLCwsLCwsLCwsLCwsLCwsLCwsLCssLCwsLP/AABEIADwBLAMBEQACEQEDEQH/xAAbAAABBQEBAAAAAAAAAAAAAAAAAQIDBAUGB//EAD0QAAECAwIKBwYHAAMBAAAAAAEAAgMEEQUxEiEiQVFhcoGRsQYyU3GhstIHEzSDwtEUIyQzQkRSQ5LBFf/EABsBAQACAwEBAAAAAAAAAAAAAAABBAIDBQYH/8QAKxEBAAICAQQCAQQBBQEAAAAAAAECAxEEBRIhMRNRFCIjMkFhQnGBkaEV/9oADAMBAAIRAxEAPwD2oxCTRoGK8m4aO9A/K1eKAytXigMrV4oDK1eKAytXigMrV4oEOHmwfFA2DHDiWnE4AEi/Ebj3IJ0AgEAgEEIiFxOCBQYqnTqCB9HaRwP3QFHaRwP3QFHaRwP3QFHaRwP3QFHaRwP3QFHaRwP3QI7CzUOrGPFA2Xjh9RnbicM4KCZAIBAIBAyI8NFSgYwvN4A1Y670DsrV4oDK1eKAytXigMrV4oDK1eKAytXigjixHMGE4DBAqaVqKXmmdBM1wOdBFA6z9oeUIJ0DcJCPJr4zWipIA1kAIjuiPavDtWXccER4RdoD2E8KqNww+an3C014NylnExPo5EhBkf3vlfUg10AgEAgEEEpcdp3NBOgSqjf2IoswxnWcAq+Xm4MU6veIZ1x2t6hF/wDRhf7HiqsdY4czrvhl8F/pNCjtd1XAq7i5GLL/AAttrmsx7SVW5BSgx7O+KmPlcig2AgEAgEAghm+rvb5ggmQJVAmEgz523ZWAaRpmEw6HPaDwrVRNohvx8bNk9Vkkp0gk4xpCmYTjoa9hPCtVHdBfjZafyrLSDlkrlRKGb/bfsu5FBWsP4eFsN5ILMDrP2h5QglKDkOmPS38KfdQQDFIxk42sB0jOdSwvbTl87qHw/pr7eaT9oxYxLo0Rz6/6OLcLgq8zNpcGZy8i/tVJbQVIp4KY3trjFkm81rE7h0cl0lfKsZ7hxwh1gamGRS6hN+sUWXfqV6vMthiI/t6bYFtQ5yFhsvGJzTe06Fvidu/xuTXNXcNRSsyyf73yvqQa6AQCAQBQQStx2nc0EyDKtKeIOCw4850al5brHV5x/s4/f2t4MO/MsK0J5kFhiRXUAz4ySTcAF5nFjz8zJqPMrlppjjyqOtuXEERsPIJpccKuduDpxLbHTc85fj7fKPnpppSloMiw2vhGoOe44sRGrGrmTlX48fDHi0NdK1v5bdmzuHid1uYXoejdT/KpNMk/qj/1Vz4e2dw0Cu6rsmzvipjuhcig1wgEAgEAghmurvb5gglCCOPGDAXOIAAJJOIADGSSoTWs2tqPbyHpT04jTTi2A4woOrE+JrJ/iNSr5Mm/T2fTuiUx1783mXJE48d/E8Vpisy6VuVhxZPi3/wtWbHZDiAvuGqqdswr8rk4bT8P9uqsbp06BHoa/hjQYJxuZpc06NS2UyaUOR0OL4pmP5Q9Xl47YjWuYQWuAIIzgq1E78vJWrNZmLexN/tv2XcipYq1hfDwthvJBYgdZ+0PKECTsYQ4bnm5rXO/6glGN7dtZl4PMzDor3RHmrnEknWdGpVJnbxWTJOS+5V4sPCCVtpu4nIjBk7pgx8vVoANyz71nDz60y2tMe0zW0FFrmdyoZL/ACXm0Os9m88Yc3gfxiNIPe3GD4lbcc+dOh0nLrL2fb1cLe9Oyf73yvqQa6AQCAQBQQStx2nc0ExUT6HLRHVJJzkr5byrzbNaZ97dnHGqqVqWeyZhlj6gGhBF4IzrZw+Zfi5O6iL074Zz+jMEwGwsJwo4uwsVSSKGouuV3/7GWuacsRHlh8Ea01ZCUZAhthsuGnGSTeSudys9uRkm9vbZWkVjS9IupEb3q50e8xy6RH2wzx+3LpF9GhyWRZ3xcx3QuRUjYQCAQCAQQzXV3t8wQSoON9qk66FKNY00968MPcGlx8tN61ZZ1V2uh4Iycjc/6Y28iVSJe416JrWe5czP0+l83y7FMdU3KI6binN8252VYOpuLe/D172XzzosnguNTCeWDuoCOatYZ3Dw3XMUY+T3R/fl1c1+2/ZdyK3OKgsP4eFsN5IlYgdZ+0PKECzUIPY5pucC09xFEY3r3VmHg83JvgPdDiCjmEtO7OO+9VZjTxeXHOLJqyo5zx/DCGogHgU1GmymPHf+VtSZ+IcboT94A/8AU7WX49I8zdIwPN+LVeeKnTXeuOP4uv8AZvIuiTXvKZMNtSdbqgDmssVZ3te6Vimcnf8AT1db3pmT/e+V9SDXQCAQCAQQStx2nc0EySOdnpctecWIkkb1896twL4s9piPEunx8m6qc02LgH3QaX5g8kN3kAkKni43695Int/w2zb6ZYNp54UrTP8AmRa66ZGNX54nC1Ou5qib7bJYdC5c8a3mdN0WhcsyWLn1IxDmu50PgW+WMkx6VuRljWm6vbueyLO+LmO6FyKDYQCAQCAQQzXV3t8wQShByvtHsp0zKHAFXQnCIBpoCHAbiVryxurq9H5MYOTG/U+JePfh3m4fZU4mHs82SdR2mGQeby7jTwCy+SFSeNW/m97f9lbIvF2FxqFHfEleN2eaZJ/2n0eJZ+cLHuhex5t1/cl6/wCzizHS8mC8UdEcX01HE3wCuYY1DxXWeRGbkTr1Hh003+2/ZdyK2uSr2H8PC2G8kFiB1n7Q8oQSuCDmOlXRyHH/ADRQRAMdcQeBmJFx1qLViXP5fCrk/U5SFY8Imhc1rhmdQb9aw7XO/EpvynPR1gHWZTWQmmf4WP34QssaE52C1zTpOYbxiO5TFWNeFjmzv7BsyFLQg2EL8ZNMbjpKziNOxx+PTFXVWkixLJ/vfK+pBroBAIBAIIJW47TuaCdBWnYYLcYr3Xqvm49M0atDKt5r6ZIIzghcm3Epjntn03/JMn4LdKj4MKe6TDTM0lZV4lbTGo8I+WYbEqwNaKCi7GPHTHGqw0WtNp2mK2sWTZ3xUx3QuRQa4QCAQCAQQzXV3t8wQSoEcEI/w4S3ej0KE+sIUab2f51sOjUdyrZcX07PF6heY7LSzYNmQnXPG84J4Faexd/LyR9nRLKhNviN3EE8Ap7EfnXnxMaXrDsKFEeC8VaM1Ot36AtuPFCtyufaK6rLvYbAAABQC4aFZ1pw5mZ8yjm/237LuRQV7D+HhbDeSCeCcp/ePKPsgnQNc0G8IKUeyID+tDCjTVOGk+4Vx0clOybwTTH8bH9LUCyoDOrDCaZ1xVr6XA0BS2aKgx6/rvlfUg2EAgEAgQoIZW47TuaCdAlEDTDboCwmlZ9wnZPct0BR8VPqDcnBgFwWVaxX0bOWSCFBkWaf1Ux8rkUGuECoBAIBBDNdXe3zBBKCgVBHEgtd1gD3qNJidKkSyIDr4TTuWPZDbGfJH9yRljS7boTeCdkE8jJPuVuFLsb1WgdwWcRpqtM2ncpQEQhnD+W/ZdyKCtYh/TwthvJBNMw84JacQqKYxrqEEQD+0dwZ6UC0f2juDPSgTL7R3BnpQFH9o7gz0oFo/tHcGelAUf2juDPSgSj+1dwZ6UDLPkGse6IXOc92LCeQaDQKAABBooBAIBAhQVpiGa1a5zSb6Uoe8EFBDl9q7gz0oDL7V3BnpQGX2ruDPSgMvtXcGelAZfau4M9KAy+1dwZ6UCEPP/K/gz0oH2bItggkFznONXOcauO9BeQCAQCAQNeARQ3IKeA4EgRHAZhkmm8iqBaP7R3BnpQFH9o7gz0oEy+0dwZ6UBR/aO4M9KBaP7R3BnpQFH9o7gz0oK07KmK3BdFfTOBgCuo0ag04UINaGtFAAABqCD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it-IT" altLang="it-IT"/>
          </a:p>
        </p:txBody>
      </p:sp>
      <p:pic>
        <p:nvPicPr>
          <p:cNvPr id="1642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3950" y="5300663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21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3950" y="4394200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22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3950" y="3482975"/>
            <a:ext cx="3333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273050" y="981075"/>
            <a:ext cx="9058275" cy="5256213"/>
          </a:xfrm>
        </p:spPr>
        <p:txBody>
          <a:bodyPr/>
          <a:lstStyle/>
          <a:p>
            <a:pPr marL="0" algn="just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800" dirty="0" smtClean="0"/>
              <a:t>Il questionario web è strutturato in 7 sezioni</a:t>
            </a:r>
            <a:r>
              <a:rPr lang="it-IT" sz="1600" dirty="0" smtClean="0"/>
              <a:t>:</a:t>
            </a:r>
            <a:endParaRPr lang="it-IT" sz="1600" dirty="0"/>
          </a:p>
          <a:p>
            <a:pPr marL="457200" indent="-457200" algn="just">
              <a:lnSpc>
                <a:spcPct val="150000"/>
              </a:lnSpc>
              <a:buClr>
                <a:srgbClr val="FF9933"/>
              </a:buClr>
              <a:buFont typeface="+mj-lt"/>
              <a:buAutoNum type="arabicPeriod"/>
              <a:defRPr/>
            </a:pPr>
            <a:r>
              <a:rPr lang="it-IT" sz="1800" b="1" dirty="0" smtClean="0"/>
              <a:t>Privacy</a:t>
            </a:r>
          </a:p>
          <a:p>
            <a:pPr marL="457200" indent="-457200" algn="just">
              <a:lnSpc>
                <a:spcPct val="150000"/>
              </a:lnSpc>
              <a:buClr>
                <a:srgbClr val="FF9933"/>
              </a:buClr>
              <a:buFont typeface="+mj-lt"/>
              <a:buAutoNum type="arabicPeriod"/>
              <a:defRPr/>
            </a:pPr>
            <a:r>
              <a:rPr lang="it-IT" sz="1800" b="1" dirty="0" smtClean="0"/>
              <a:t>Profilo utente e regione di appartenenza</a:t>
            </a:r>
          </a:p>
          <a:p>
            <a:pPr marL="457200" indent="-457200" algn="just">
              <a:lnSpc>
                <a:spcPct val="150000"/>
              </a:lnSpc>
              <a:buClr>
                <a:srgbClr val="FF9933"/>
              </a:buClr>
              <a:buFont typeface="+mj-lt"/>
              <a:buAutoNum type="arabicPeriod"/>
              <a:defRPr/>
            </a:pPr>
            <a:r>
              <a:rPr lang="it-IT" sz="1800" b="1" dirty="0" smtClean="0"/>
              <a:t>Conoscenza </a:t>
            </a:r>
            <a:r>
              <a:rPr lang="it-IT" sz="1800" b="1" dirty="0"/>
              <a:t>del </a:t>
            </a:r>
            <a:r>
              <a:rPr lang="it-IT" sz="1800" b="1" dirty="0" smtClean="0"/>
              <a:t>servizio, utilizzo e assistenza richiesta   </a:t>
            </a:r>
          </a:p>
          <a:p>
            <a:pPr marL="457200" indent="-457200" algn="just">
              <a:lnSpc>
                <a:spcPct val="150000"/>
              </a:lnSpc>
              <a:buClr>
                <a:srgbClr val="FF9933"/>
              </a:buClr>
              <a:buFont typeface="+mj-lt"/>
              <a:buAutoNum type="arabicPeriod"/>
              <a:defRPr/>
            </a:pPr>
            <a:r>
              <a:rPr lang="it-IT" sz="1800" b="1" dirty="0" smtClean="0"/>
              <a:t>Valutazione del servizio</a:t>
            </a:r>
            <a:r>
              <a:rPr lang="it-IT" sz="1800" dirty="0" smtClean="0"/>
              <a:t> </a:t>
            </a:r>
          </a:p>
          <a:p>
            <a:pPr marL="933450" lvl="1" indent="-457200" algn="just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600" dirty="0" err="1" smtClean="0"/>
              <a:t>overall</a:t>
            </a:r>
            <a:r>
              <a:rPr lang="it-IT" sz="1600" dirty="0" smtClean="0"/>
              <a:t> </a:t>
            </a:r>
            <a:r>
              <a:rPr lang="it-IT" sz="1600" dirty="0"/>
              <a:t>iniziale</a:t>
            </a:r>
          </a:p>
          <a:p>
            <a:pPr marL="933450" lvl="1" indent="-457200" algn="just">
              <a:lnSpc>
                <a:spcPct val="150000"/>
              </a:lnSpc>
              <a:buClr>
                <a:srgbClr val="FF9933"/>
              </a:buClr>
              <a:defRPr/>
            </a:pPr>
            <a:r>
              <a:rPr lang="it-IT" sz="1600" dirty="0" smtClean="0"/>
              <a:t>driver </a:t>
            </a:r>
            <a:r>
              <a:rPr lang="it-IT" sz="1600" dirty="0"/>
              <a:t>di dettaglio </a:t>
            </a:r>
          </a:p>
          <a:p>
            <a:pPr marL="457200" indent="-457200" algn="just">
              <a:lnSpc>
                <a:spcPct val="150000"/>
              </a:lnSpc>
              <a:buClr>
                <a:srgbClr val="FF9933"/>
              </a:buClr>
              <a:buFont typeface="+mj-lt"/>
              <a:buAutoNum type="arabicPeriod"/>
              <a:defRPr/>
            </a:pPr>
            <a:r>
              <a:rPr lang="it-IT" sz="1800" b="1" dirty="0" smtClean="0"/>
              <a:t>Ambiti di miglioramento del servizio</a:t>
            </a:r>
            <a:endParaRPr lang="it-IT" sz="1800" dirty="0" smtClean="0"/>
          </a:p>
          <a:p>
            <a:pPr marL="457200" indent="-457200" algn="just">
              <a:lnSpc>
                <a:spcPct val="150000"/>
              </a:lnSpc>
              <a:buClr>
                <a:srgbClr val="FF9933"/>
              </a:buClr>
              <a:buFont typeface="+mj-lt"/>
              <a:buAutoNum type="arabicPeriod"/>
              <a:defRPr/>
            </a:pPr>
            <a:r>
              <a:rPr lang="it-IT" sz="1800" b="1" dirty="0" smtClean="0"/>
              <a:t>Servizio di assistenza più utilizzato </a:t>
            </a:r>
            <a:r>
              <a:rPr lang="it-IT" sz="1800" dirty="0" smtClean="0"/>
              <a:t>(Ufficio</a:t>
            </a:r>
            <a:r>
              <a:rPr lang="it-IT" sz="1800" dirty="0"/>
              <a:t>, </a:t>
            </a:r>
            <a:r>
              <a:rPr lang="it-IT" sz="1800" dirty="0" err="1"/>
              <a:t>Civis</a:t>
            </a:r>
            <a:r>
              <a:rPr lang="it-IT" sz="1800" dirty="0"/>
              <a:t>, </a:t>
            </a:r>
            <a:r>
              <a:rPr lang="it-IT" sz="1800" dirty="0" smtClean="0"/>
              <a:t>Call </a:t>
            </a:r>
            <a:r>
              <a:rPr lang="it-IT" sz="1800" dirty="0"/>
              <a:t>center, </a:t>
            </a:r>
            <a:r>
              <a:rPr lang="it-IT" sz="1800" dirty="0" smtClean="0"/>
              <a:t>PEC)</a:t>
            </a:r>
          </a:p>
          <a:p>
            <a:pPr marL="457200" indent="-457200" algn="just">
              <a:lnSpc>
                <a:spcPct val="150000"/>
              </a:lnSpc>
              <a:buClr>
                <a:srgbClr val="FF9933"/>
              </a:buClr>
              <a:buFont typeface="+mj-lt"/>
              <a:buAutoNum type="arabicPeriod"/>
              <a:defRPr/>
            </a:pPr>
            <a:r>
              <a:rPr lang="it-IT" sz="1800" b="1" dirty="0" smtClean="0"/>
              <a:t>Abitudine all’uso del canale telematico</a:t>
            </a:r>
            <a:endParaRPr lang="it-IT" sz="1800" dirty="0" smtClean="0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3375"/>
            <a:ext cx="9344025" cy="647700"/>
          </a:xfrm>
        </p:spPr>
        <p:txBody>
          <a:bodyPr/>
          <a:lstStyle/>
          <a:p>
            <a:r>
              <a:rPr lang="en-US" altLang="it-IT" sz="2400" smtClean="0"/>
              <a:t>LA STRUTTURA DEL QUESTIONARIO</a:t>
            </a:r>
          </a:p>
        </p:txBody>
      </p:sp>
      <p:sp>
        <p:nvSpPr>
          <p:cNvPr id="17412" name="CasellaDiTesto 1"/>
          <p:cNvSpPr txBox="1">
            <a:spLocks noChangeArrowheads="1"/>
          </p:cNvSpPr>
          <p:nvPr/>
        </p:nvSpPr>
        <p:spPr bwMode="auto">
          <a:xfrm>
            <a:off x="273050" y="6381750"/>
            <a:ext cx="374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200" b="1">
                <a:solidFill>
                  <a:srgbClr val="E3600F"/>
                </a:solidFill>
              </a:rPr>
              <a:t>Direzione Centrale Servizi ai Contribuenti </a:t>
            </a: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26546D3-DEAF-46DF-8981-BD610E469ED8}" type="slidenum">
              <a:rPr lang="it-IT" smtClean="0"/>
              <a:pPr>
                <a:defRPr/>
              </a:pPr>
              <a:t>6</a:t>
            </a:fld>
            <a:endParaRPr lang="it-IT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307975" y="1052513"/>
            <a:ext cx="9469438" cy="4968875"/>
          </a:xfrm>
        </p:spPr>
        <p:txBody>
          <a:bodyPr/>
          <a:lstStyle/>
          <a:p>
            <a:pPr marL="0" indent="0" algn="just">
              <a:lnSpc>
                <a:spcPct val="150000"/>
              </a:lnSpc>
              <a:buClr>
                <a:srgbClr val="FF9933"/>
              </a:buClr>
            </a:pPr>
            <a:r>
              <a:rPr lang="it-IT" altLang="it-IT" sz="1600" smtClean="0"/>
              <a:t>L’atteggiamento degli utenti verso CIVIS è valutato rispetto ad alcuni fattori della soddisfazione definiti sulla base di precedenti studi</a:t>
            </a:r>
          </a:p>
          <a:p>
            <a:pPr marL="0" indent="0" algn="just">
              <a:lnSpc>
                <a:spcPct val="150000"/>
              </a:lnSpc>
              <a:buClr>
                <a:srgbClr val="FF9933"/>
              </a:buClr>
            </a:pPr>
            <a:endParaRPr lang="it-IT" altLang="it-IT" sz="1600" smtClean="0"/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title"/>
          </p:nvPr>
        </p:nvSpPr>
        <p:spPr>
          <a:xfrm>
            <a:off x="344488" y="333375"/>
            <a:ext cx="9344025" cy="647700"/>
          </a:xfrm>
        </p:spPr>
        <p:txBody>
          <a:bodyPr/>
          <a:lstStyle/>
          <a:p>
            <a:r>
              <a:rPr lang="en-US" altLang="it-IT" sz="2400" smtClean="0"/>
              <a:t>METODOLOGIA: I DRIVER DI DETTAGLIO</a:t>
            </a:r>
          </a:p>
        </p:txBody>
      </p:sp>
      <p:sp>
        <p:nvSpPr>
          <p:cNvPr id="18436" name="CasellaDiTesto 1"/>
          <p:cNvSpPr txBox="1">
            <a:spLocks noChangeArrowheads="1"/>
          </p:cNvSpPr>
          <p:nvPr/>
        </p:nvSpPr>
        <p:spPr bwMode="auto">
          <a:xfrm>
            <a:off x="273050" y="6381750"/>
            <a:ext cx="374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200" b="1">
                <a:solidFill>
                  <a:srgbClr val="E3600F"/>
                </a:solidFill>
              </a:rPr>
              <a:t>Direzione Centrale Servizi ai Contribuenti </a:t>
            </a:r>
          </a:p>
        </p:txBody>
      </p:sp>
      <p:sp>
        <p:nvSpPr>
          <p:cNvPr id="5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0EF8816-02A8-408E-A4AE-820D4925D723}" type="slidenum">
              <a:rPr lang="it-IT" smtClean="0"/>
              <a:pPr>
                <a:defRPr/>
              </a:pPr>
              <a:t>7</a:t>
            </a:fld>
            <a:endParaRPr lang="it-IT"/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7335038"/>
              </p:ext>
            </p:extLst>
          </p:nvPr>
        </p:nvGraphicFramePr>
        <p:xfrm>
          <a:off x="415925" y="1916112"/>
          <a:ext cx="2088803" cy="4105175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2088803"/>
              </a:tblGrid>
              <a:tr h="378992"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/>
                        <a:t>ACCESSIBILITÀ</a:t>
                      </a:r>
                      <a:endParaRPr lang="it-IT" sz="1600" dirty="0"/>
                    </a:p>
                  </a:txBody>
                  <a:tcPr marL="91421" marR="91421" marT="45707" marB="45707">
                    <a:solidFill>
                      <a:srgbClr val="0F407B"/>
                    </a:solidFill>
                  </a:tcPr>
                </a:tc>
              </a:tr>
              <a:tr h="81021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Chiarezza e completezza delle informazioni sul servizio</a:t>
                      </a:r>
                    </a:p>
                  </a:txBody>
                  <a:tcPr marL="44441" marR="44441" marT="0" marB="0" anchor="ctr">
                    <a:solidFill>
                      <a:schemeClr val="bg1"/>
                    </a:solidFill>
                  </a:tcPr>
                </a:tc>
              </a:tr>
              <a:tr h="78021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3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Semplicità e chiarezza delle modalità di abilitazione al servizio</a:t>
                      </a:r>
                      <a:endParaRPr lang="it-IT" sz="13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4441" marR="44441" marT="0" marB="0" anchor="ctr">
                    <a:solidFill>
                      <a:schemeClr val="bg1"/>
                    </a:solidFill>
                  </a:tcPr>
                </a:tc>
              </a:tr>
              <a:tr h="5341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3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Facilità di accesso al servizio</a:t>
                      </a:r>
                      <a:endParaRPr lang="it-IT" sz="13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4441" marR="44441" marT="0" marB="0" anchor="ctr">
                    <a:solidFill>
                      <a:schemeClr val="bg1"/>
                    </a:solidFill>
                  </a:tcPr>
                </a:tc>
              </a:tr>
              <a:tr h="58889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3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Facilità di utilizzo dell’applicazione</a:t>
                      </a:r>
                      <a:endParaRPr lang="it-IT" sz="13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4441" marR="44441" marT="0" marB="0" anchor="ctr">
                    <a:solidFill>
                      <a:schemeClr val="bg1"/>
                    </a:solidFill>
                  </a:tcPr>
                </a:tc>
              </a:tr>
              <a:tr h="101276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Efficacia degli strumenti di assistenza (call center, pagine informative on line)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it-IT" sz="1300" dirty="0">
                        <a:solidFill>
                          <a:srgbClr val="073C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4441" marR="44441" marT="0" marB="0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8454" name="AutoShape 2" descr="data:image/jpeg;base64,/9j/4AAQSkZJRgABAQAAAQABAAD/2wCEAAkGBxAPERUUEBAVFhQXGBIWGBYVGBQVFBQYFBQXFhUUFBQYHyogGBolHBUVITIhJSkrLi4uFx8zODMsNygtLisBCgoKDg0OGxAQGywkHyQsLCwvLC0sLCwrLSwsLCwsLCwsLCwsLCwsLCwsLCwsLCwsLCwsLCwsLCwsLCssLCwsLP/AABEIADwBLAMBEQACEQEDEQH/xAAbAAABBQEBAAAAAAAAAAAAAAAAAQIDBAUGB//EAD0QAAECAwIKBwYHAAMBAAAAAAEAAgMEEQUxEiEiQVFhcoGRsQYyU3GhstIHEzSDwtEUIyQzQkRSQ5LBFf/EABsBAQACAwEBAAAAAAAAAAAAAAABBAIDBQYH/8QAKxEBAAICAQQCAQQBBQEAAAAAAAECAxEEBRIhMRNRFCIjMkFhQnGBkaEV/9oADAMBAAIRAxEAPwD2oxCTRoGK8m4aO9A/K1eKAytXigMrV4oDK1eKAytXigMrV4oEOHmwfFA2DHDiWnE4AEi/Ebj3IJ0AgEAgEEIiFxOCBQYqnTqCB9HaRwP3QFHaRwP3QFHaRwP3QFHaRwP3QFHaRwP3QFHaRwP3QI7CzUOrGPFA2Xjh9RnbicM4KCZAIBAIBAyI8NFSgYwvN4A1Y670DsrV4oDK1eKAytXigMrV4oDK1eKAytXigjixHMGE4DBAqaVqKXmmdBM1wOdBFA6z9oeUIJ0DcJCPJr4zWipIA1kAIjuiPavDtWXccER4RdoD2E8KqNww+an3C014NylnExPo5EhBkf3vlfUg10AgEAgEEEpcdp3NBOgSqjf2IoswxnWcAq+Xm4MU6veIZ1x2t6hF/wDRhf7HiqsdY4czrvhl8F/pNCjtd1XAq7i5GLL/AAttrmsx7SVW5BSgx7O+KmPlcig2AgEAgEAghm+rvb5ggmQJVAmEgz523ZWAaRpmEw6HPaDwrVRNohvx8bNk9Vkkp0gk4xpCmYTjoa9hPCtVHdBfjZafyrLSDlkrlRKGb/bfsu5FBWsP4eFsN5ILMDrP2h5QglKDkOmPS38KfdQQDFIxk42sB0jOdSwvbTl87qHw/pr7eaT9oxYxLo0Rz6/6OLcLgq8zNpcGZy8i/tVJbQVIp4KY3trjFkm81rE7h0cl0lfKsZ7hxwh1gamGRS6hN+sUWXfqV6vMthiI/t6bYFtQ5yFhsvGJzTe06Fvidu/xuTXNXcNRSsyyf73yvqQa6AQCAQBQQStx2nc0EyDKtKeIOCw4850al5brHV5x/s4/f2t4MO/MsK0J5kFhiRXUAz4ySTcAF5nFjz8zJqPMrlppjjyqOtuXEERsPIJpccKuduDpxLbHTc85fj7fKPnpppSloMiw2vhGoOe44sRGrGrmTlX48fDHi0NdK1v5bdmzuHid1uYXoejdT/KpNMk/qj/1Vz4e2dw0Cu6rsmzvipjuhcig1wgEAgEAghmurvb5gglCCOPGDAXOIAAJJOIADGSSoTWs2tqPbyHpT04jTTi2A4woOrE+JrJ/iNSr5Mm/T2fTuiUx1783mXJE48d/E8Vpisy6VuVhxZPi3/wtWbHZDiAvuGqqdswr8rk4bT8P9uqsbp06BHoa/hjQYJxuZpc06NS2UyaUOR0OL4pmP5Q9Xl47YjWuYQWuAIIzgq1E78vJWrNZmLexN/tv2XcipYq1hfDwthvJBYgdZ+0PKECTsYQ4bnm5rXO/6glGN7dtZl4PMzDor3RHmrnEknWdGpVJnbxWTJOS+5V4sPCCVtpu4nIjBk7pgx8vVoANyz71nDz60y2tMe0zW0FFrmdyoZL/ACXm0Os9m88Yc3gfxiNIPe3GD4lbcc+dOh0nLrL2fb1cLe9Oyf73yvqQa6AQCAQBQQStx2nc0ExUT6HLRHVJJzkr5byrzbNaZ97dnHGqqVqWeyZhlj6gGhBF4IzrZw+Zfi5O6iL074Zz+jMEwGwsJwo4uwsVSSKGouuV3/7GWuacsRHlh8Ea01ZCUZAhthsuGnGSTeSudys9uRkm9vbZWkVjS9IupEb3q50e8xy6RH2wzx+3LpF9GhyWRZ3xcx3QuRUjYQCAQCAQQzXV3t8wQSoON9qk66FKNY00968MPcGlx8tN61ZZ1V2uh4Iycjc/6Y28iVSJe416JrWe5czP0+l83y7FMdU3KI6binN8252VYOpuLe/D172XzzosnguNTCeWDuoCOatYZ3Dw3XMUY+T3R/fl1c1+2/ZdyK3OKgsP4eFsN5IlYgdZ+0PKECzUIPY5pucC09xFEY3r3VmHg83JvgPdDiCjmEtO7OO+9VZjTxeXHOLJqyo5zx/DCGogHgU1GmymPHf+VtSZ+IcboT94A/8AU7WX49I8zdIwPN+LVeeKnTXeuOP4uv8AZvIuiTXvKZMNtSdbqgDmssVZ3te6Vimcnf8AT1db3pmT/e+V9SDXQCAQCAQQStx2nc0EySOdnpctecWIkkb1896twL4s9piPEunx8m6qc02LgH3QaX5g8kN3kAkKni43695Int/w2zb6ZYNp54UrTP8AmRa66ZGNX54nC1Ou5qib7bJYdC5c8a3mdN0WhcsyWLn1IxDmu50PgW+WMkx6VuRljWm6vbueyLO+LmO6FyKDYQCAQCAQQzXV3t8wQShByvtHsp0zKHAFXQnCIBpoCHAbiVryxurq9H5MYOTG/U+JePfh3m4fZU4mHs82SdR2mGQeby7jTwCy+SFSeNW/m97f9lbIvF2FxqFHfEleN2eaZJ/2n0eJZ+cLHuhex5t1/cl6/wCzizHS8mC8UdEcX01HE3wCuYY1DxXWeRGbkTr1Hh003+2/ZdyK2uSr2H8PC2G8kFiB1n7Q8oQSuCDmOlXRyHH/ADRQRAMdcQeBmJFx1qLViXP5fCrk/U5SFY8Imhc1rhmdQb9aw7XO/EpvynPR1gHWZTWQmmf4WP34QssaE52C1zTpOYbxiO5TFWNeFjmzv7BsyFLQg2EL8ZNMbjpKziNOxx+PTFXVWkixLJ/vfK+pBroBAIBAIIJW47TuaCdBWnYYLcYr3Xqvm49M0atDKt5r6ZIIzghcm3Epjntn03/JMn4LdKj4MKe6TDTM0lZV4lbTGo8I+WYbEqwNaKCi7GPHTHGqw0WtNp2mK2sWTZ3xUx3QuRQa4QCAQCAQQzXV3t8wQSoEcEI/w4S3ej0KE+sIUab2f51sOjUdyrZcX07PF6heY7LSzYNmQnXPG84J4Faexd/LyR9nRLKhNviN3EE8Ap7EfnXnxMaXrDsKFEeC8VaM1Ot36AtuPFCtyufaK6rLvYbAAABQC4aFZ1pw5mZ8yjm/237LuRQV7D+HhbDeSCeCcp/ePKPsgnQNc0G8IKUeyID+tDCjTVOGk+4Vx0clOybwTTH8bH9LUCyoDOrDCaZ1xVr6XA0BS2aKgx6/rvlfUg2EAgEAgQoIZW47TuaCdAlEDTDboCwmlZ9wnZPct0BR8VPqDcnBgFwWVaxX0bOWSCFBkWaf1Ux8rkUGuECoBAIBBDNdXe3zBBKCgVBHEgtd1gD3qNJidKkSyIDr4TTuWPZDbGfJH9yRljS7boTeCdkE8jJPuVuFLsb1WgdwWcRpqtM2ncpQEQhnD+W/ZdyKCtYh/TwthvJBNMw84JacQqKYxrqEEQD+0dwZ6UC0f2juDPSgTL7R3BnpQFH9o7gz0oFo/tHcGelAUf2juDPSgSj+1dwZ6UDLPkGse6IXOc92LCeQaDQKAABBooBAIBAhQVpiGa1a5zSb6Uoe8EFBDl9q7gz0oDL7V3BnpQGX2ruDPSgMvtXcGelAZfau4M9KAy+1dwZ6UCEPP/K/gz0oH2bItggkFznONXOcauO9BeQCAQCAQNeARQ3IKeA4EgRHAZhkmm8iqBaP7R3BnpQFH9o7gz0oEy+0dwZ6UBR/aO4M9KBaP7R3BnpQFH9o7gz0oK07KmK3BdFfTOBgCuo0ag04UINaGtFAAABqCD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it-IT" altLang="it-IT"/>
          </a:p>
        </p:txBody>
      </p:sp>
      <p:graphicFrame>
        <p:nvGraphicFramePr>
          <p:cNvPr id="15" name="Tabel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7798082"/>
              </p:ext>
            </p:extLst>
          </p:nvPr>
        </p:nvGraphicFramePr>
        <p:xfrm>
          <a:off x="2792413" y="1916113"/>
          <a:ext cx="2160587" cy="4105176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2160587"/>
              </a:tblGrid>
              <a:tr h="384960"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>
                          <a:solidFill>
                            <a:srgbClr val="E3600F"/>
                          </a:solidFill>
                        </a:rPr>
                        <a:t>EFFICACIA</a:t>
                      </a:r>
                      <a:endParaRPr lang="it-IT" sz="1600" dirty="0">
                        <a:solidFill>
                          <a:srgbClr val="E3600F"/>
                        </a:solidFill>
                      </a:endParaRPr>
                    </a:p>
                  </a:txBody>
                  <a:tcPr marL="91411" marR="91411" marT="45719" marB="45719">
                    <a:solidFill>
                      <a:schemeClr val="bg1"/>
                    </a:solidFill>
                  </a:tcPr>
                </a:tc>
              </a:tr>
              <a:tr h="61701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kern="1200" dirty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Chiarezza e completezza delle motivazioni per la richiesta di assistenza </a:t>
                      </a:r>
                    </a:p>
                  </a:txBody>
                  <a:tcPr marL="44454" marR="44454" marT="0" marB="0" anchor="ctr">
                    <a:solidFill>
                      <a:schemeClr val="bg1"/>
                    </a:solidFill>
                  </a:tcPr>
                </a:tc>
              </a:tr>
              <a:tr h="82268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kern="1200" dirty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Chiarezza e completezza delle informazioni da fornire per avere l’assistenza richiesta.</a:t>
                      </a:r>
                    </a:p>
                  </a:txBody>
                  <a:tcPr marL="44454" marR="44454" marT="0" marB="0" anchor="ctr">
                    <a:solidFill>
                      <a:schemeClr val="bg1"/>
                    </a:solidFill>
                  </a:tcPr>
                </a:tc>
              </a:tr>
              <a:tr h="61701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kern="1200" dirty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Capacità degli ALERT di fornire aiuto nell’utilizzo del servizio</a:t>
                      </a:r>
                    </a:p>
                  </a:txBody>
                  <a:tcPr marL="44454" marR="44454" marT="0" marB="0" anchor="ctr">
                    <a:solidFill>
                      <a:schemeClr val="bg1"/>
                    </a:solidFill>
                  </a:tcPr>
                </a:tc>
              </a:tr>
              <a:tr h="61701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kern="1200" dirty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Completezza delle informazioni sullo stato della pratica</a:t>
                      </a:r>
                    </a:p>
                  </a:txBody>
                  <a:tcPr marL="44454" marR="44454" marT="0" marB="0" anchor="ctr">
                    <a:solidFill>
                      <a:schemeClr val="bg1"/>
                    </a:solidFill>
                  </a:tcPr>
                </a:tc>
              </a:tr>
              <a:tr h="52324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kern="1200" dirty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Facilità di reperimento dell’esito del servizio</a:t>
                      </a:r>
                    </a:p>
                  </a:txBody>
                  <a:tcPr marL="44454" marR="44454" marT="0" marB="0" anchor="ctr">
                    <a:solidFill>
                      <a:schemeClr val="bg1"/>
                    </a:solidFill>
                  </a:tcPr>
                </a:tc>
              </a:tr>
              <a:tr h="52324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kern="1200" dirty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Chiarezza e completezza dell’esito del servizio</a:t>
                      </a:r>
                    </a:p>
                  </a:txBody>
                  <a:tcPr marL="44454" marR="44454" marT="0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6" name="Tabella 15"/>
          <p:cNvGraphicFramePr>
            <a:graphicFrameLocks noGrp="1"/>
          </p:cNvGraphicFramePr>
          <p:nvPr/>
        </p:nvGraphicFramePr>
        <p:xfrm>
          <a:off x="5240338" y="1916113"/>
          <a:ext cx="1871662" cy="965200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1871662"/>
              </a:tblGrid>
              <a:tr h="370833"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/>
                        <a:t>AFFIDABILITÀ</a:t>
                      </a:r>
                      <a:endParaRPr lang="it-IT" sz="1600" dirty="0"/>
                    </a:p>
                  </a:txBody>
                  <a:tcPr marL="91435" marR="91435">
                    <a:solidFill>
                      <a:srgbClr val="0F407B"/>
                    </a:solidFill>
                  </a:tcPr>
                </a:tc>
              </a:tr>
              <a:tr h="59436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dirty="0" smtClean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Continuità di funzionamento del servizio</a:t>
                      </a:r>
                    </a:p>
                  </a:txBody>
                  <a:tcPr marL="44448" marR="44448" marT="0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7" name="Tabella 16"/>
          <p:cNvGraphicFramePr>
            <a:graphicFrameLocks noGrp="1"/>
          </p:cNvGraphicFramePr>
          <p:nvPr/>
        </p:nvGraphicFramePr>
        <p:xfrm>
          <a:off x="7400925" y="1916113"/>
          <a:ext cx="2087563" cy="1357311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2087563"/>
              </a:tblGrid>
              <a:tr h="370829">
                <a:tc>
                  <a:txBody>
                    <a:bodyPr/>
                    <a:lstStyle/>
                    <a:p>
                      <a:pPr algn="ctr"/>
                      <a:r>
                        <a:rPr lang="it-IT" sz="1600" dirty="0" smtClean="0">
                          <a:solidFill>
                            <a:srgbClr val="E3600F"/>
                          </a:solidFill>
                        </a:rPr>
                        <a:t>TEMPESTIVITA’</a:t>
                      </a:r>
                      <a:endParaRPr lang="it-IT" sz="1600" dirty="0">
                        <a:solidFill>
                          <a:srgbClr val="E3600F"/>
                        </a:solidFill>
                      </a:endParaRPr>
                    </a:p>
                  </a:txBody>
                  <a:tcPr marL="91367" marR="91367" marT="45719" marB="45719">
                    <a:solidFill>
                      <a:schemeClr val="bg1"/>
                    </a:solidFill>
                  </a:tcPr>
                </a:tc>
              </a:tr>
              <a:tr h="49324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Rapidità di risposta alla richiesta di assistenza</a:t>
                      </a:r>
                    </a:p>
                  </a:txBody>
                  <a:tcPr marL="44433" marR="44433" marT="0" marB="0" anchor="ctr">
                    <a:solidFill>
                      <a:schemeClr val="bg1"/>
                    </a:solidFill>
                  </a:tcPr>
                </a:tc>
              </a:tr>
              <a:tr h="49324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rgbClr val="073C62"/>
                          </a:solidFill>
                          <a:latin typeface="+mn-lt"/>
                          <a:ea typeface="+mn-ea"/>
                          <a:cs typeface="+mn-cs"/>
                        </a:rPr>
                        <a:t>Adeguatezza dei tempi di risposta</a:t>
                      </a:r>
                    </a:p>
                  </a:txBody>
                  <a:tcPr marL="44433" marR="44433" marT="0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AA197E4-CD6E-449E-A488-C3DA9AD04FB3}" type="slidenum">
              <a:rPr lang="it-IT" smtClean="0"/>
              <a:pPr>
                <a:defRPr/>
              </a:pPr>
              <a:t>8</a:t>
            </a:fld>
            <a:endParaRPr lang="it-IT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title"/>
          </p:nvPr>
        </p:nvSpPr>
        <p:spPr>
          <a:xfrm>
            <a:off x="-23428" y="332656"/>
            <a:ext cx="9906000" cy="503238"/>
          </a:xfrm>
          <a:ln>
            <a:miter lim="800000"/>
            <a:headEnd/>
            <a:tailEnd/>
          </a:ln>
          <a:extLst/>
        </p:spPr>
        <p:txBody>
          <a:bodyPr/>
          <a:lstStyle/>
          <a:p>
            <a:pPr>
              <a:defRPr/>
            </a:pPr>
            <a:r>
              <a:rPr lang="it-IT" sz="2400" dirty="0" smtClean="0"/>
              <a:t>SODDISFAZIONE PER I SERVIZI OFFERTI DA CIVIS</a:t>
            </a:r>
            <a:endParaRPr lang="it-IT" sz="2400" strike="sngStrike" dirty="0" smtClean="0"/>
          </a:p>
        </p:txBody>
      </p:sp>
      <p:sp>
        <p:nvSpPr>
          <p:cNvPr id="19460" name="CasellaDiTesto 5"/>
          <p:cNvSpPr txBox="1">
            <a:spLocks noChangeArrowheads="1"/>
          </p:cNvSpPr>
          <p:nvPr/>
        </p:nvSpPr>
        <p:spPr bwMode="auto">
          <a:xfrm>
            <a:off x="273050" y="6381750"/>
            <a:ext cx="374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200" b="1">
                <a:solidFill>
                  <a:srgbClr val="E3600F"/>
                </a:solidFill>
              </a:rPr>
              <a:t>Direzione Centrale Servizi ai Contribuenti </a:t>
            </a: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285750" y="1119188"/>
            <a:ext cx="9288463" cy="417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lnSpc>
                <a:spcPct val="150000"/>
              </a:lnSpc>
              <a:spcBef>
                <a:spcPts val="600"/>
              </a:spcBef>
              <a:defRPr/>
            </a:pP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La </a:t>
            </a:r>
            <a:r>
              <a:rPr lang="it-IT" sz="1600" b="1" dirty="0">
                <a:solidFill>
                  <a:srgbClr val="073C62"/>
                </a:solidFill>
                <a:latin typeface="+mj-lt"/>
                <a:cs typeface="Arial" pitchFamily="34" charset="0"/>
              </a:rPr>
              <a:t>soddisfazione complessiva</a:t>
            </a: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 per il servizio offerto da CIVIS è </a:t>
            </a:r>
            <a:r>
              <a:rPr lang="it-IT" sz="1600" b="1" dirty="0">
                <a:solidFill>
                  <a:srgbClr val="073C62"/>
                </a:solidFill>
                <a:latin typeface="+mj-lt"/>
                <a:cs typeface="Arial" pitchFamily="34" charset="0"/>
              </a:rPr>
              <a:t>molto positiva</a:t>
            </a: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.</a:t>
            </a:r>
          </a:p>
          <a:p>
            <a:pPr algn="just">
              <a:lnSpc>
                <a:spcPct val="150000"/>
              </a:lnSpc>
              <a:spcBef>
                <a:spcPts val="600"/>
              </a:spcBef>
              <a:defRPr/>
            </a:pPr>
            <a:r>
              <a:rPr lang="it-IT" sz="1600" b="1" dirty="0">
                <a:solidFill>
                  <a:srgbClr val="073C62"/>
                </a:solidFill>
                <a:latin typeface="+mj-lt"/>
                <a:cs typeface="Arial" pitchFamily="34" charset="0"/>
              </a:rPr>
              <a:t>L’80% </a:t>
            </a: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circa degli intervistati esprime infatti una valutazione pienamente positiva (punteggi 5-6 su scala 1-6); </a:t>
            </a:r>
            <a:r>
              <a:rPr lang="it-IT" sz="1600" b="1" dirty="0">
                <a:solidFill>
                  <a:srgbClr val="073C62"/>
                </a:solidFill>
                <a:latin typeface="+mj-lt"/>
                <a:cs typeface="Arial" pitchFamily="34" charset="0"/>
              </a:rPr>
              <a:t>marginale</a:t>
            </a: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 </a:t>
            </a:r>
            <a:r>
              <a:rPr lang="it-IT" sz="1600" b="1" dirty="0">
                <a:solidFill>
                  <a:srgbClr val="073C62"/>
                </a:solidFill>
                <a:latin typeface="+mj-lt"/>
                <a:cs typeface="Arial" pitchFamily="34" charset="0"/>
              </a:rPr>
              <a:t>(5%) </a:t>
            </a:r>
            <a:r>
              <a:rPr lang="it-IT" sz="1600" dirty="0" smtClean="0">
                <a:solidFill>
                  <a:srgbClr val="073C62"/>
                </a:solidFill>
                <a:latin typeface="+mj-lt"/>
                <a:cs typeface="Arial" pitchFamily="34" charset="0"/>
              </a:rPr>
              <a:t>è</a:t>
            </a:r>
            <a:r>
              <a:rPr lang="it-IT" sz="1600" b="1" dirty="0" smtClean="0">
                <a:solidFill>
                  <a:srgbClr val="073C62"/>
                </a:solidFill>
                <a:latin typeface="+mj-lt"/>
                <a:cs typeface="Arial" pitchFamily="34" charset="0"/>
              </a:rPr>
              <a:t> </a:t>
            </a: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la quota di utenti che lamenta insoddisfazione per il servizio (punteggi 1-2). </a:t>
            </a:r>
          </a:p>
          <a:p>
            <a:pPr algn="just">
              <a:lnSpc>
                <a:spcPct val="150000"/>
              </a:lnSpc>
              <a:spcBef>
                <a:spcPts val="600"/>
              </a:spcBef>
              <a:defRPr/>
            </a:pPr>
            <a:endParaRPr lang="it-IT" sz="1600" dirty="0">
              <a:solidFill>
                <a:srgbClr val="073C62"/>
              </a:solidFill>
              <a:latin typeface="+mj-lt"/>
              <a:cs typeface="Arial" pitchFamily="34" charset="0"/>
            </a:endParaRPr>
          </a:p>
          <a:p>
            <a:pPr algn="just">
              <a:lnSpc>
                <a:spcPct val="150000"/>
              </a:lnSpc>
              <a:spcBef>
                <a:spcPts val="600"/>
              </a:spcBef>
              <a:defRPr/>
            </a:pP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L’indice di </a:t>
            </a:r>
            <a:r>
              <a:rPr lang="it-IT" sz="1600" b="1" dirty="0">
                <a:solidFill>
                  <a:srgbClr val="073C62"/>
                </a:solidFill>
                <a:latin typeface="+mj-lt"/>
                <a:cs typeface="Arial" pitchFamily="34" charset="0"/>
              </a:rPr>
              <a:t>soddisfazione complessiva </a:t>
            </a: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(indice che assume valori compresi tra 0 -totalmente insoddisfatto - e 100 - totalmente soddisfatto) è pari a </a:t>
            </a:r>
            <a:r>
              <a:rPr lang="it-IT" sz="1600" b="1" dirty="0">
                <a:solidFill>
                  <a:srgbClr val="073C62"/>
                </a:solidFill>
                <a:latin typeface="+mj-lt"/>
                <a:cs typeface="Arial" pitchFamily="34" charset="0"/>
              </a:rPr>
              <a:t>82,7.</a:t>
            </a:r>
          </a:p>
          <a:p>
            <a:pPr algn="just">
              <a:lnSpc>
                <a:spcPct val="150000"/>
              </a:lnSpc>
              <a:spcBef>
                <a:spcPts val="600"/>
              </a:spcBef>
              <a:defRPr/>
            </a:pPr>
            <a:endParaRPr lang="it-IT" sz="1600" b="1" dirty="0">
              <a:solidFill>
                <a:srgbClr val="073C62"/>
              </a:solidFill>
              <a:latin typeface="+mj-lt"/>
              <a:cs typeface="Arial" pitchFamily="34" charset="0"/>
            </a:endParaRPr>
          </a:p>
          <a:p>
            <a:pPr algn="just">
              <a:lnSpc>
                <a:spcPct val="150000"/>
              </a:lnSpc>
              <a:spcBef>
                <a:spcPts val="600"/>
              </a:spcBef>
              <a:defRPr/>
            </a:pP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Le valutazioni di </a:t>
            </a:r>
            <a:r>
              <a:rPr lang="it-IT" sz="1600" b="1" dirty="0">
                <a:solidFill>
                  <a:srgbClr val="073C62"/>
                </a:solidFill>
                <a:latin typeface="+mj-lt"/>
                <a:cs typeface="Arial" pitchFamily="34" charset="0"/>
              </a:rPr>
              <a:t>eccellenza</a:t>
            </a: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 sono condivise da </a:t>
            </a:r>
            <a:r>
              <a:rPr lang="it-IT" sz="1600" b="1" dirty="0">
                <a:solidFill>
                  <a:srgbClr val="073C62"/>
                </a:solidFill>
                <a:latin typeface="+mj-lt"/>
                <a:cs typeface="Arial" pitchFamily="34" charset="0"/>
              </a:rPr>
              <a:t>tutti i target </a:t>
            </a: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considerati e si accentuano ulteriormente presso gli </a:t>
            </a:r>
            <a:r>
              <a:rPr lang="it-IT" sz="1600" b="1" dirty="0">
                <a:solidFill>
                  <a:srgbClr val="073C62"/>
                </a:solidFill>
                <a:latin typeface="+mj-lt"/>
                <a:cs typeface="Arial" pitchFamily="34" charset="0"/>
              </a:rPr>
              <a:t>utenti non professionisti (indice 86,6)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D98840-9C0C-46D7-802D-A4622EAD3E0E}" type="slidenum">
              <a:rPr lang="it-IT" smtClean="0"/>
              <a:pPr>
                <a:defRPr/>
              </a:pPr>
              <a:t>9</a:t>
            </a:fld>
            <a:endParaRPr lang="it-IT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title"/>
          </p:nvPr>
        </p:nvSpPr>
        <p:spPr>
          <a:xfrm>
            <a:off x="-23428" y="332656"/>
            <a:ext cx="9906000" cy="503238"/>
          </a:xfrm>
          <a:ln>
            <a:miter lim="800000"/>
            <a:headEnd/>
            <a:tailEnd/>
          </a:ln>
          <a:extLst/>
        </p:spPr>
        <p:txBody>
          <a:bodyPr/>
          <a:lstStyle/>
          <a:p>
            <a:pPr>
              <a:defRPr/>
            </a:pPr>
            <a:r>
              <a:rPr lang="it-IT" sz="2400" dirty="0" smtClean="0"/>
              <a:t>LA RISPOSTA ALLE ASPETTATIVE DEGLI UTENTI</a:t>
            </a:r>
            <a:endParaRPr lang="it-IT" sz="2400" strike="sngStrike" dirty="0" smtClean="0"/>
          </a:p>
        </p:txBody>
      </p:sp>
      <p:sp>
        <p:nvSpPr>
          <p:cNvPr id="20484" name="CasellaDiTesto 5"/>
          <p:cNvSpPr txBox="1">
            <a:spLocks noChangeArrowheads="1"/>
          </p:cNvSpPr>
          <p:nvPr/>
        </p:nvSpPr>
        <p:spPr bwMode="auto">
          <a:xfrm>
            <a:off x="273050" y="6381750"/>
            <a:ext cx="374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it-IT" sz="1200" b="1">
                <a:solidFill>
                  <a:srgbClr val="E3600F"/>
                </a:solidFill>
              </a:rPr>
              <a:t>Direzione Centrale Servizi ai Contribuenti </a:t>
            </a: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285750" y="1119188"/>
            <a:ext cx="9288463" cy="394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lnSpc>
                <a:spcPct val="150000"/>
              </a:lnSpc>
              <a:spcBef>
                <a:spcPts val="600"/>
              </a:spcBef>
              <a:defRPr/>
            </a:pP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L’ottima performance di CIVIS si basa sulla</a:t>
            </a:r>
            <a:r>
              <a:rPr lang="it-IT" sz="1600" b="1" dirty="0">
                <a:solidFill>
                  <a:srgbClr val="073C62"/>
                </a:solidFill>
                <a:latin typeface="+mj-lt"/>
                <a:cs typeface="Arial" pitchFamily="34" charset="0"/>
              </a:rPr>
              <a:t> risposta del servizio alle esigenze e alle aspettative dei suoi utenti</a:t>
            </a: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: l’indice di </a:t>
            </a:r>
            <a:r>
              <a:rPr lang="it-IT" sz="1600" b="1" dirty="0">
                <a:solidFill>
                  <a:srgbClr val="073C62"/>
                </a:solidFill>
                <a:latin typeface="+mj-lt"/>
                <a:cs typeface="Arial" pitchFamily="34" charset="0"/>
              </a:rPr>
              <a:t>soddisfazione </a:t>
            </a: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delle aspettative è infatti pari a </a:t>
            </a:r>
            <a:r>
              <a:rPr lang="it-IT" sz="1600" b="1" dirty="0">
                <a:solidFill>
                  <a:srgbClr val="073C62"/>
                </a:solidFill>
                <a:latin typeface="+mj-lt"/>
                <a:cs typeface="Arial" pitchFamily="34" charset="0"/>
              </a:rPr>
              <a:t>80,9</a:t>
            </a: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.</a:t>
            </a:r>
          </a:p>
          <a:p>
            <a:pPr algn="just">
              <a:lnSpc>
                <a:spcPct val="150000"/>
              </a:lnSpc>
              <a:spcBef>
                <a:spcPts val="600"/>
              </a:spcBef>
              <a:defRPr/>
            </a:pP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E’ importante sottolineare come le aspettative di cui sono portatori i vari utenti (i professionisti, come i privati o gli abitanti in contesti territoriali tra loro molto diversi, etc.) siano tutte egualmente soddisfatte.</a:t>
            </a:r>
          </a:p>
          <a:p>
            <a:pPr algn="just">
              <a:lnSpc>
                <a:spcPct val="150000"/>
              </a:lnSpc>
              <a:spcBef>
                <a:spcPts val="600"/>
              </a:spcBef>
              <a:defRPr/>
            </a:pP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L’</a:t>
            </a:r>
            <a:r>
              <a:rPr lang="it-IT" sz="1600" b="1" dirty="0">
                <a:solidFill>
                  <a:srgbClr val="073C62"/>
                </a:solidFill>
                <a:latin typeface="+mj-lt"/>
                <a:cs typeface="Arial" pitchFamily="34" charset="0"/>
              </a:rPr>
              <a:t>81</a:t>
            </a: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% dei rispondenti ritiene infatti questo servizio pienamente in linea (punteggi 5-6, su scala 1-6) con i migliori servizi telematici offerti dalla Pubblica amministrazione. Complessivamente </a:t>
            </a:r>
            <a:r>
              <a:rPr lang="it-IT" sz="1600" b="1" dirty="0">
                <a:solidFill>
                  <a:srgbClr val="073C62"/>
                </a:solidFill>
                <a:latin typeface="+mj-lt"/>
                <a:cs typeface="Arial" pitchFamily="34" charset="0"/>
              </a:rPr>
              <a:t>CIVIS</a:t>
            </a:r>
            <a:r>
              <a:rPr lang="it-IT" sz="1600" dirty="0">
                <a:solidFill>
                  <a:srgbClr val="073C62"/>
                </a:solidFill>
                <a:latin typeface="+mj-lt"/>
                <a:cs typeface="Arial" pitchFamily="34" charset="0"/>
              </a:rPr>
              <a:t> è considerato un buon modello di servizio telematico nell’ambito della P.A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vWA4H7VEWi8dz7wH1F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z82bYhiUel0sztdtab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6znsDpnEq4t.oNErSH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RYU9nTt06NYk47anst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8apHnJC0WZw478txx7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qG9FD3Q0m9mnKesnHy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TeR3mDFUyVLFgjSwb_Pg"/>
</p:tagLst>
</file>

<file path=ppt/theme/theme1.xml><?xml version="1.0" encoding="utf-8"?>
<a:theme xmlns:a="http://schemas.openxmlformats.org/drawingml/2006/main" name="agenzianew2">
  <a:themeElements>
    <a:clrScheme name="agenzianew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agenzianew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80962" tIns="39688" rIns="80962" bIns="39688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80962" tIns="39688" rIns="80962" bIns="39688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agenzianew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genzianew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genzianew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genzianew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genzianew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genzianew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genzianew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genzianew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genzianew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genzianew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genzianew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genzianew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agenzianew2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223</TotalTime>
  <Words>1781</Words>
  <Application>Microsoft Office PowerPoint</Application>
  <PresentationFormat>A4 (21x29,7 cm)</PresentationFormat>
  <Paragraphs>373</Paragraphs>
  <Slides>20</Slides>
  <Notes>18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0</vt:i4>
      </vt:variant>
    </vt:vector>
  </HeadingPairs>
  <TitlesOfParts>
    <vt:vector size="27" baseType="lpstr">
      <vt:lpstr>Arial</vt:lpstr>
      <vt:lpstr>Verdana</vt:lpstr>
      <vt:lpstr>Wingdings</vt:lpstr>
      <vt:lpstr>Times New Roman</vt:lpstr>
      <vt:lpstr>Times</vt:lpstr>
      <vt:lpstr>agenzianew2</vt:lpstr>
      <vt:lpstr>Grafico di Microsoft Office Excel</vt:lpstr>
      <vt:lpstr>Presentazione standard di PowerPoint</vt:lpstr>
      <vt:lpstr>OBIETTIVO CUSTOMER SATISFACTION</vt:lpstr>
      <vt:lpstr>METODOLOGIA: MODALITÀ E TEMPI</vt:lpstr>
      <vt:lpstr>METODOLOGIA: LA SCALA IMPIEGATA</vt:lpstr>
      <vt:lpstr>METODOLOGIA: SCALA EQUIVALENZA INDICI</vt:lpstr>
      <vt:lpstr>LA STRUTTURA DEL QUESTIONARIO</vt:lpstr>
      <vt:lpstr>METODOLOGIA: I DRIVER DI DETTAGLIO</vt:lpstr>
      <vt:lpstr>SODDISFAZIONE PER I SERVIZI OFFERTI DA CIVIS</vt:lpstr>
      <vt:lpstr>LA RISPOSTA ALLE ASPETTATIVE DEGLI UTENTI</vt:lpstr>
      <vt:lpstr>VALUTAZIONE DEGLI INDICATORI</vt:lpstr>
      <vt:lpstr>IL PROFILO DEGLI UTILIZZATORI  (1/2)</vt:lpstr>
      <vt:lpstr>SODDISFAZIONE COMPLESSIVA PER CIVIS</vt:lpstr>
      <vt:lpstr>SODDISFAZIONE ESIGENZE</vt:lpstr>
      <vt:lpstr>SODDISFAZIONE CIVIS VS ALTRE PA</vt:lpstr>
      <vt:lpstr>SERVIZIO DI ASSISTENZA UTILIZZATO</vt:lpstr>
      <vt:lpstr>CAPACITÀ MIGLIORARE RAPPORTI CON L’AMMINISTRAZIONE</vt:lpstr>
      <vt:lpstr>LE CARATTERISTICHE DEL SERVIZIO UTILIZZATO </vt:lpstr>
      <vt:lpstr>IMPORTANZA DEL DRIVER – CONTRIBUTO ALLA SODDISFAZIONE</vt:lpstr>
      <vt:lpstr>MAPPA PRIORITÀ: DESCRIZIONE</vt:lpstr>
      <vt:lpstr>MAPPA PRIORITÀ: SINGOLI DRIVER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ssun titolo diapositiva</dc:title>
  <dc:creator>Gigliarelli Silvia</dc:creator>
  <cp:lastModifiedBy>PEZZALI ELENA</cp:lastModifiedBy>
  <cp:revision>2573</cp:revision>
  <cp:lastPrinted>2014-04-04T14:46:11Z</cp:lastPrinted>
  <dcterms:created xsi:type="dcterms:W3CDTF">2000-01-26T10:54:37Z</dcterms:created>
  <dcterms:modified xsi:type="dcterms:W3CDTF">2014-09-26T09:46:53Z</dcterms:modified>
</cp:coreProperties>
</file>